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slideLayouts/slideLayout26.xml" ContentType="application/vnd.openxmlformats-officedocument.presentationml.slideLayout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27.xml" ContentType="application/vnd.openxmlformats-officedocument.presentationml.slideLayout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34.xml" ContentType="application/vnd.openxmlformats-officedocument.presentationml.slideLayout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slideLayouts/slideLayout30.xml" ContentType="application/vnd.openxmlformats-officedocument.presentationml.slideLayout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28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Layouts/slideLayout36.xml" ContentType="application/vnd.openxmlformats-officedocument.presentationml.slideLayout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760" r:id="rId2"/>
  </p:sldMasterIdLst>
  <p:notesMasterIdLst>
    <p:notesMasterId r:id="rId22"/>
  </p:notesMasterIdLst>
  <p:handoutMasterIdLst>
    <p:handoutMasterId r:id="rId23"/>
  </p:handoutMasterIdLst>
  <p:sldIdLst>
    <p:sldId id="781" r:id="rId3"/>
    <p:sldId id="782" r:id="rId4"/>
    <p:sldId id="378" r:id="rId5"/>
    <p:sldId id="7675" r:id="rId6"/>
    <p:sldId id="7686" r:id="rId7"/>
    <p:sldId id="7767" r:id="rId8"/>
    <p:sldId id="795" r:id="rId9"/>
    <p:sldId id="799" r:id="rId10"/>
    <p:sldId id="7769" r:id="rId11"/>
    <p:sldId id="7770" r:id="rId12"/>
    <p:sldId id="7771" r:id="rId13"/>
    <p:sldId id="7772" r:id="rId14"/>
    <p:sldId id="7773" r:id="rId15"/>
    <p:sldId id="7774" r:id="rId16"/>
    <p:sldId id="7775" r:id="rId17"/>
    <p:sldId id="7776" r:id="rId18"/>
    <p:sldId id="7777" r:id="rId19"/>
    <p:sldId id="7778" r:id="rId20"/>
    <p:sldId id="7742" r:id="rId21"/>
  </p:sldIdLst>
  <p:sldSz cx="13817600" cy="7772400"/>
  <p:notesSz cx="6881813" cy="9296400"/>
  <p:custDataLst>
    <p:tags r:id="rId24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448">
          <p15:clr>
            <a:srgbClr val="A4A3A4"/>
          </p15:clr>
        </p15:guide>
        <p15:guide id="2" pos="435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CD2F0F"/>
    <a:srgbClr val="FFA451"/>
    <a:srgbClr val="A32020"/>
    <a:srgbClr val="EB8C00"/>
    <a:srgbClr val="DC6900"/>
    <a:srgbClr val="DB536A"/>
    <a:srgbClr val="FF0000"/>
    <a:srgbClr val="FFC28B"/>
    <a:srgbClr val="FFC227"/>
    <a:srgbClr val="CD2F0E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74ED0A72-4B8E-423B-AE2F-120ADE3C16FB}" styleName="Smart Table Tex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1H>
    <a:band2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top>
            <a:ln>
              <a:noFill/>
            </a:ln>
          </a:top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inor">
          <a:prstClr val="black"/>
        </a:fontRef>
        <a:schemeClr val="accent1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inor">
          <a:prstClr val="black"/>
        </a:fontRef>
        <a:schemeClr val="accent1"/>
      </a:tcTxStyle>
      <a:tcStyle>
        <a:tcBdr/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5226" autoAdjust="0"/>
  </p:normalViewPr>
  <p:slideViewPr>
    <p:cSldViewPr snapToGrid="0">
      <p:cViewPr varScale="1">
        <p:scale>
          <a:sx n="93" d="100"/>
          <a:sy n="93" d="100"/>
        </p:scale>
        <p:origin x="-714" y="-108"/>
      </p:cViewPr>
      <p:guideLst>
        <p:guide orient="horz" pos="2448"/>
        <p:guide pos="43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4" d="100"/>
        <a:sy n="84" d="100"/>
      </p:scale>
      <p:origin x="0" y="14344"/>
    </p:cViewPr>
  </p:sorterViewPr>
  <p:notesViewPr>
    <p:cSldViewPr snapToGrid="0">
      <p:cViewPr varScale="1">
        <p:scale>
          <a:sx n="64" d="100"/>
          <a:sy n="64" d="100"/>
        </p:scale>
        <p:origin x="3158" y="72"/>
      </p:cViewPr>
      <p:guideLst>
        <p:guide orient="horz" pos="2928"/>
        <p:guide pos="216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D35B1-60AB-43F7-96E0-8278C11AA7BA}" type="datetimeFigureOut">
              <a:rPr lang="en-GB" smtClean="0"/>
              <a:pPr/>
              <a:t>15/07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CB74D-572E-4F08-9394-3ECB1E1638A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966007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B935B-3E5D-4FF0-8ED3-E5C882647223}" type="datetimeFigureOut">
              <a:rPr lang="en-US" smtClean="0"/>
              <a:pPr/>
              <a:t>7/1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1313" y="696913"/>
            <a:ext cx="6199187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706B8-EBCC-470A-8AE8-B49CE76EE6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811548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075692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64695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12186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534298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3" Type="http://schemas.openxmlformats.org/officeDocument/2006/relationships/tags" Target="../tags/tag111.xml"/><Relationship Id="rId7" Type="http://schemas.openxmlformats.org/officeDocument/2006/relationships/tags" Target="../tags/tag115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9.xml"/><Relationship Id="rId10" Type="http://schemas.openxmlformats.org/officeDocument/2006/relationships/tags" Target="../tags/tag134.xml"/><Relationship Id="rId4" Type="http://schemas.openxmlformats.org/officeDocument/2006/relationships/tags" Target="../tags/tag128.xml"/><Relationship Id="rId9" Type="http://schemas.openxmlformats.org/officeDocument/2006/relationships/tags" Target="../tags/tag13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8.xml"/><Relationship Id="rId9" Type="http://schemas.openxmlformats.org/officeDocument/2006/relationships/tags" Target="../tags/tag14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7.xml"/><Relationship Id="rId9" Type="http://schemas.openxmlformats.org/officeDocument/2006/relationships/tags" Target="../tags/tag15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56.xml"/><Relationship Id="rId9" Type="http://schemas.openxmlformats.org/officeDocument/2006/relationships/tags" Target="../tags/tag16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65.xml"/><Relationship Id="rId9" Type="http://schemas.openxmlformats.org/officeDocument/2006/relationships/tags" Target="../tags/tag17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4.xml"/><Relationship Id="rId7" Type="http://schemas.openxmlformats.org/officeDocument/2006/relationships/image" Target="../media/image2.png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9.xml"/><Relationship Id="rId7" Type="http://schemas.openxmlformats.org/officeDocument/2006/relationships/image" Target="../media/image2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1.xml"/><Relationship Id="rId4" Type="http://schemas.openxmlformats.org/officeDocument/2006/relationships/tags" Target="../tags/tag18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3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6.xml"/><Relationship Id="rId4" Type="http://schemas.openxmlformats.org/officeDocument/2006/relationships/tags" Target="../tags/tag18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Relationship Id="rId9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5" Type="http://schemas.openxmlformats.org/officeDocument/2006/relationships/tags" Target="../tags/tag198.xml"/><Relationship Id="rId4" Type="http://schemas.openxmlformats.org/officeDocument/2006/relationships/tags" Target="../tags/tag197.xml"/><Relationship Id="rId9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tags" Target="../tags/tag8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01B0421D-0F2C-4D5C-8C6A-4F33BBA87B51}"/>
              </a:ext>
            </a:extLst>
          </p:cNvPr>
          <p:cNvGrpSpPr/>
          <p:nvPr userDrawn="1"/>
        </p:nvGrpSpPr>
        <p:grpSpPr>
          <a:xfrm>
            <a:off x="1" y="1351"/>
            <a:ext cx="13817599" cy="4432563"/>
            <a:chOff x="0" y="-1850"/>
            <a:chExt cx="10058399" cy="3854593"/>
          </a:xfrm>
        </p:grpSpPr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0AC2468B-7B7C-4C8C-B055-6EEB0FDFB458}"/>
                </a:ext>
              </a:extLst>
            </p:cNvPr>
            <p:cNvSpPr/>
            <p:nvPr userDrawn="1"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="" xmlns:a16="http://schemas.microsoft.com/office/drawing/2014/main" id="{6BE32A15-DC57-4998-AEBF-FEB28AD4F1C7}"/>
                </a:ext>
              </a:extLst>
            </p:cNvPr>
            <p:cNvSpPr/>
            <p:nvPr userDrawn="1"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</p:grpSp>
      <p:sp>
        <p:nvSpPr>
          <p:cNvPr id="12" name="Report Title">
            <a:extLst>
              <a:ext uri="{FF2B5EF4-FFF2-40B4-BE49-F238E27FC236}">
                <a16:creationId xmlns=""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83212" y="2406700"/>
            <a:ext cx="8344471" cy="618631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00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=""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83212" y="3938983"/>
            <a:ext cx="8344471" cy="207749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  <a:latin typeface="+mn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="" xmlns:a16="http://schemas.microsoft.com/office/drawing/2014/main" id="{CB4906E0-DCF0-4572-8EB8-2DD2439A515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683212" y="4917022"/>
            <a:ext cx="7073495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="" xmlns:a16="http://schemas.microsoft.com/office/drawing/2014/main" id="{4D76D332-7278-485D-8CDF-6978AE979BD5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683212" y="4706780"/>
            <a:ext cx="3025915" cy="1980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10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="" xmlns:a16="http://schemas.microsoft.com/office/drawing/2014/main" id="{0E3D03A1-F1AB-4918-AAE4-A674AC23F6D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83212" y="4194530"/>
            <a:ext cx="2610681" cy="2393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Picture 16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CD8B0B4B-6A37-46A9-9A2D-114AE65517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733107" cy="138130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4074491E-8316-4DD5-B420-512DE886393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12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919902" y="704089"/>
            <a:ext cx="816494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4919902" y="704089"/>
            <a:ext cx="816494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/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="" xmlns:a16="http://schemas.microsoft.com/office/drawing/2014/main" id="{878B0EBC-141B-4C4F-A362-F528990FC2B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15" name="Page Number">
            <a:extLst>
              <a:ext uri="{FF2B5EF4-FFF2-40B4-BE49-F238E27FC236}">
                <a16:creationId xmlns="" xmlns:a16="http://schemas.microsoft.com/office/drawing/2014/main" id="{C9163938-2785-4D1F-BF6D-38BF33DF9B9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16" name="Presentation Disclaimer">
            <a:extLst>
              <a:ext uri="{FF2B5EF4-FFF2-40B4-BE49-F238E27FC236}">
                <a16:creationId xmlns="" xmlns:a16="http://schemas.microsoft.com/office/drawing/2014/main" id="{C7F05687-DF8A-4343-AC91-BC2675AFB87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3" name="Section Footer">
            <a:extLst>
              <a:ext uri="{FF2B5EF4-FFF2-40B4-BE49-F238E27FC236}">
                <a16:creationId xmlns="" xmlns:a16="http://schemas.microsoft.com/office/drawing/2014/main" id="{DED794C3-4383-43AC-902C-5A450186D19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964F52D2-7367-4B0E-9D2D-29AFCA9CD2CD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9F7E5360-4F8D-4FCD-B7AC-F798EC35A7AE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raft stamp" hidden="1">
            <a:extLst>
              <a:ext uri="{FF2B5EF4-FFF2-40B4-BE49-F238E27FC236}">
                <a16:creationId xmlns="" xmlns:a16="http://schemas.microsoft.com/office/drawing/2014/main" id="{1DF6D7B6-5867-4B92-8FBA-C62AA2356B05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 userDrawn="1">
            <p:custDataLst>
              <p:tags r:id="rId1"/>
            </p:custDataLst>
          </p:nvPr>
        </p:nvSpPr>
        <p:spPr>
          <a:xfrm>
            <a:off x="4919902" y="704089"/>
            <a:ext cx="816494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7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18" name="Page Number">
            <a:extLst>
              <a:ext uri="{FF2B5EF4-FFF2-40B4-BE49-F238E27FC236}">
                <a16:creationId xmlns="" xmlns:a16="http://schemas.microsoft.com/office/drawing/2014/main" id="{A58703A6-1313-434F-9F41-5C0717B2C45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12" name="Draft stamp" hidden="1">
            <a:extLst>
              <a:ext uri="{FF2B5EF4-FFF2-40B4-BE49-F238E27FC236}">
                <a16:creationId xmlns="" xmlns:a16="http://schemas.microsoft.com/office/drawing/2014/main" id="{6C4C93B2-A619-441E-B329-F1D1D1339E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Glossary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728565" y="2057400"/>
            <a:ext cx="12360471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14" name="Report Date">
            <a:extLst>
              <a:ext uri="{FF2B5EF4-FFF2-40B4-BE49-F238E27FC236}">
                <a16:creationId xmlns="" xmlns:a16="http://schemas.microsoft.com/office/drawing/2014/main" id="{BCDE7FFC-7693-4723-B753-B6E41BB1B5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3" name="Page Number">
            <a:extLst>
              <a:ext uri="{FF2B5EF4-FFF2-40B4-BE49-F238E27FC236}">
                <a16:creationId xmlns="" xmlns:a16="http://schemas.microsoft.com/office/drawing/2014/main" id="{48686681-E6DE-42F4-A1DD-218D21E6C1A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15" name="Draft stamp" hidden="1">
            <a:extLst>
              <a:ext uri="{FF2B5EF4-FFF2-40B4-BE49-F238E27FC236}">
                <a16:creationId xmlns="" xmlns:a16="http://schemas.microsoft.com/office/drawing/2014/main" id="{B9EC7613-0765-4C3E-A317-ECEF6A7225C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="" xmlns:p14="http://schemas.microsoft.com/office/powerpoint/2010/main" val="29466446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071690"/>
            <a:ext cx="8943756" cy="754062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4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864012" y="2377441"/>
            <a:ext cx="10225024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6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5" name="Draft stamp" hidden="1">
            <a:extLst>
              <a:ext uri="{FF2B5EF4-FFF2-40B4-BE49-F238E27FC236}">
                <a16:creationId xmlns=""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4FBEF6FA-A0C7-46EC-AFF5-9AFA478285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464468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_Longer tit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3E9D31E-4204-4DCB-A857-FA95141C7A1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728564" y="1413221"/>
            <a:ext cx="5352323" cy="2519362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4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6444574" y="1574958"/>
            <a:ext cx="6644461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="" xmlns:a16="http://schemas.microsoft.com/office/drawing/2014/main" id="{04C53841-62F4-4336-A058-AD0FA9E6089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bg1"/>
                </a:solidFill>
                <a:latin typeface="+mn-lt"/>
              </a:rPr>
              <a:t>26 July 2021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5" name="Draft stamp" hidden="1">
            <a:extLst>
              <a:ext uri="{FF2B5EF4-FFF2-40B4-BE49-F238E27FC236}">
                <a16:creationId xmlns=""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4FBEF6FA-A0C7-46EC-AFF5-9AFA4782851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23139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071690"/>
            <a:ext cx="8943756" cy="754062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400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1B48028B-B6D8-48D6-9F96-EA3550606D9C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864012" y="2377441"/>
            <a:ext cx="10225024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2" name="Report Date">
            <a:extLst>
              <a:ext uri="{FF2B5EF4-FFF2-40B4-BE49-F238E27FC236}">
                <a16:creationId xmlns="" xmlns:a16="http://schemas.microsoft.com/office/drawing/2014/main" id="{04C53841-62F4-4336-A058-AD0FA9E6089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bg1"/>
                </a:solidFill>
                <a:latin typeface="+mn-lt"/>
              </a:rPr>
              <a:t>26 July 2021</a:t>
            </a:r>
          </a:p>
        </p:txBody>
      </p:sp>
      <p:sp>
        <p:nvSpPr>
          <p:cNvPr id="16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5" name="Draft stamp" hidden="1">
            <a:extLst>
              <a:ext uri="{FF2B5EF4-FFF2-40B4-BE49-F238E27FC236}">
                <a16:creationId xmlns="" xmlns:a16="http://schemas.microsoft.com/office/drawing/2014/main" id="{0E3C53B8-5AFD-4F30-817E-2DBA6FBB482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0E108681-ED46-4FCD-AF9B-B0F12DB8236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9FB0E485-E0C8-4B7D-BB20-D326D12F239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31995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066800"/>
            <a:ext cx="8944860" cy="758952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400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864012" y="2377441"/>
            <a:ext cx="10225024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=""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bg1"/>
                </a:solidFill>
                <a:latin typeface="+mn-lt"/>
              </a:rPr>
              <a:t>26 July 2021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=""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3" name="Draft stamp" hidden="1">
            <a:extLst>
              <a:ext uri="{FF2B5EF4-FFF2-40B4-BE49-F238E27FC236}">
                <a16:creationId xmlns=""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6784D724-50E8-40C9-83D5-3D08BB155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CADB77E1-10C5-41A7-B534-2D41309DC8D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31365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_Longer tit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728564" y="1413221"/>
            <a:ext cx="5352323" cy="251936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400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444573" y="1574958"/>
            <a:ext cx="6645009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=""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bg1"/>
                </a:solidFill>
                <a:latin typeface="+mn-lt"/>
              </a:rPr>
              <a:t>26 July 2021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=""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3" name="Draft stamp" hidden="1">
            <a:extLst>
              <a:ext uri="{FF2B5EF4-FFF2-40B4-BE49-F238E27FC236}">
                <a16:creationId xmlns=""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6784D724-50E8-40C9-83D5-3D08BB155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CADB77E1-10C5-41A7-B534-2D41309DC8D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221036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1066800"/>
            <a:ext cx="8944860" cy="758952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400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="" xmlns:a16="http://schemas.microsoft.com/office/drawing/2014/main" id="{C635807D-6549-4797-A193-3707FC5E46A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2864012" y="2377441"/>
            <a:ext cx="10225024" cy="45727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100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1" name="Report Date">
            <a:extLst>
              <a:ext uri="{FF2B5EF4-FFF2-40B4-BE49-F238E27FC236}">
                <a16:creationId xmlns="" xmlns:a16="http://schemas.microsoft.com/office/drawing/2014/main" id="{6AE09BCF-860A-4E64-B809-A161D8D6DC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bg1"/>
                </a:solidFill>
                <a:latin typeface="+mn-lt"/>
              </a:rPr>
              <a:t>26 July 2021</a:t>
            </a:r>
          </a:p>
        </p:txBody>
      </p:sp>
      <p:sp>
        <p:nvSpPr>
          <p:cNvPr id="12" name="Page Number">
            <a:extLst>
              <a:ext uri="{FF2B5EF4-FFF2-40B4-BE49-F238E27FC236}">
                <a16:creationId xmlns="" xmlns:a16="http://schemas.microsoft.com/office/drawing/2014/main" id="{5895A5DF-11D5-4259-998F-0C30C64DF6E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bg1"/>
              </a:solidFill>
            </a:endParaRPr>
          </a:p>
        </p:txBody>
      </p:sp>
      <p:sp>
        <p:nvSpPr>
          <p:cNvPr id="13" name="Draft stamp" hidden="1">
            <a:extLst>
              <a:ext uri="{FF2B5EF4-FFF2-40B4-BE49-F238E27FC236}">
                <a16:creationId xmlns="" xmlns:a16="http://schemas.microsoft.com/office/drawing/2014/main" id="{4A109EDD-F23D-4A93-8BC4-C9989B49AD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HeaderTOCPlaceholder">
            <a:extLst>
              <a:ext uri="{FF2B5EF4-FFF2-40B4-BE49-F238E27FC236}">
                <a16:creationId xmlns="" xmlns:a16="http://schemas.microsoft.com/office/drawing/2014/main" id="{62C19DD9-BA46-4527-91D3-9377718D0CB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0" name="Section Header">
            <a:extLst>
              <a:ext uri="{FF2B5EF4-FFF2-40B4-BE49-F238E27FC236}">
                <a16:creationId xmlns="" xmlns:a16="http://schemas.microsoft.com/office/drawing/2014/main" id="{CA1998C4-AD53-42B5-93F1-BC4AA20A524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900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21827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8778AFBC-5631-4E32-8E90-ECFF72061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728565" y="2057400"/>
            <a:ext cx="12360471" cy="4882896"/>
          </a:xfrm>
        </p:spPr>
        <p:txBody>
          <a:bodyPr tIns="0" bIns="0"/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  <a:lvl6pPr marL="234000" marR="0" indent="-2304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1400"/>
            </a:lvl6pPr>
            <a:lvl7pPr marL="468000" marR="0" indent="-2286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lphaLcPeriod"/>
              <a:tabLst/>
              <a:defRPr sz="1400"/>
            </a:lvl7pPr>
            <a:lvl8pPr marL="694800" marR="0" indent="-22860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romanLcPeriod"/>
              <a:tabLst/>
              <a:defRPr sz="1400"/>
            </a:lvl8pPr>
            <a:lvl9pPr marL="0" marR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4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0" name="Draft stamp" hidden="1">
            <a:extLst>
              <a:ext uri="{FF2B5EF4-FFF2-40B4-BE49-F238E27FC236}">
                <a16:creationId xmlns="" xmlns:a16="http://schemas.microsoft.com/office/drawing/2014/main" id="{26555BDF-7C84-4592-ACD1-DDDDF84190D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30" name="Page Number">
            <a:extLst>
              <a:ext uri="{FF2B5EF4-FFF2-40B4-BE49-F238E27FC236}">
                <a16:creationId xmlns="" xmlns:a16="http://schemas.microsoft.com/office/drawing/2014/main" id="{41779BE8-A4CC-4DAD-B153-54092D7A99B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32" name="Section Footer">
            <a:extLst>
              <a:ext uri="{FF2B5EF4-FFF2-40B4-BE49-F238E27FC236}">
                <a16:creationId xmlns="" xmlns:a16="http://schemas.microsoft.com/office/drawing/2014/main" id="{8D2C9B10-5BE7-4AF8-BFF8-A3046EC4F941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29064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90880" y="518160"/>
            <a:ext cx="6016937" cy="2852928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48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Thank you</a:t>
            </a:r>
            <a:endParaRPr lang="en-GB" dirty="0"/>
          </a:p>
        </p:txBody>
      </p:sp>
      <p:sp>
        <p:nvSpPr>
          <p:cNvPr id="8" name="Slide Tags" hidden="1"/>
          <p:cNvSpPr txBox="1"/>
          <p:nvPr userDrawn="1">
            <p:custDataLst>
              <p:tags r:id="rId1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AF4687C-57A8-453A-A049-0D4DDFEA3263}"/>
              </a:ext>
            </a:extLst>
          </p:cNvPr>
          <p:cNvSpPr/>
          <p:nvPr userDrawn="1"/>
        </p:nvSpPr>
        <p:spPr bwMode="hidden">
          <a:xfrm>
            <a:off x="0" y="5599636"/>
            <a:ext cx="13817600" cy="2172765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85" dirty="0"/>
          </a:p>
        </p:txBody>
      </p:sp>
    </p:spTree>
    <p:extLst>
      <p:ext uri="{BB962C8B-B14F-4D97-AF65-F5344CB8AC3E}">
        <p14:creationId xmlns="" xmlns:p14="http://schemas.microsoft.com/office/powerpoint/2010/main" val="16943966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=""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l="17709" r="24167"/>
          <a:stretch/>
        </p:blipFill>
        <p:spPr>
          <a:xfrm>
            <a:off x="2826327" y="4"/>
            <a:ext cx="10991273" cy="7784124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2" y="1"/>
            <a:ext cx="9483207" cy="77724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210" dirty="0"/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 bwMode="black">
          <a:xfrm>
            <a:off x="391221" y="6132237"/>
            <a:ext cx="2248500" cy="1351184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=""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83212" y="2406700"/>
            <a:ext cx="7118847" cy="618631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00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=""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83212" y="3094119"/>
            <a:ext cx="7118847" cy="207749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  <a:latin typeface="+mn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="" xmlns:a16="http://schemas.microsoft.com/office/drawing/2014/main" id="{0E2F3F91-4073-4018-A640-F36B816E77D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728564" y="4733122"/>
            <a:ext cx="7073495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="" xmlns:a16="http://schemas.microsoft.com/office/drawing/2014/main" id="{D99A7AB6-A20A-4FF1-A703-0C449EEF0B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728564" y="4439229"/>
            <a:ext cx="3025915" cy="2077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10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="" xmlns:a16="http://schemas.microsoft.com/office/drawing/2014/main" id="{BA7C48D8-0F4A-43F2-B425-8A49E4F2DFB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83212" y="3340511"/>
            <a:ext cx="2610681" cy="2393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421155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=""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/>
          <a:srcRect l="17709" r="24167"/>
          <a:stretch/>
        </p:blipFill>
        <p:spPr>
          <a:xfrm>
            <a:off x="2826327" y="4"/>
            <a:ext cx="10991273" cy="7784124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=""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 userDrawn="1"/>
        </p:nvSpPr>
        <p:spPr bwMode="white">
          <a:xfrm>
            <a:off x="2" y="1"/>
            <a:ext cx="9483207" cy="77724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210" dirty="0"/>
          </a:p>
        </p:txBody>
      </p: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 bwMode="black">
          <a:xfrm>
            <a:off x="391221" y="6132237"/>
            <a:ext cx="2248500" cy="1351184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=""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83212" y="2406700"/>
            <a:ext cx="7118847" cy="618631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00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=""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83212" y="3094119"/>
            <a:ext cx="7118847" cy="207749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  <a:latin typeface="+mn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="" xmlns:a16="http://schemas.microsoft.com/office/drawing/2014/main" id="{BB6F76BA-CA5E-46B1-A4FE-A04494BA1F4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728564" y="4733122"/>
            <a:ext cx="7073495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="" xmlns:a16="http://schemas.microsoft.com/office/drawing/2014/main" id="{FD086E63-2C7B-45FF-B665-56AD61AC323A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728564" y="4439229"/>
            <a:ext cx="3025915" cy="2077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10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="" xmlns:a16="http://schemas.microsoft.com/office/drawing/2014/main" id="{2093D07F-E838-4E22-A6DD-E50DBC5575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83212" y="3340511"/>
            <a:ext cx="2610681" cy="2393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2439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 bwMode="black">
          <a:xfrm>
            <a:off x="391221" y="6132237"/>
            <a:ext cx="2248500" cy="1351184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=""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83212" y="2406700"/>
            <a:ext cx="7118847" cy="618631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10188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00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=""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83212" y="3094119"/>
            <a:ext cx="7118847" cy="207749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500" baseline="0">
                <a:solidFill>
                  <a:schemeClr val="bg1"/>
                </a:solidFill>
                <a:latin typeface="+mn-lt"/>
              </a:defRPr>
            </a:lvl1pPr>
            <a:lvl2pPr marL="509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6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7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="" xmlns:a16="http://schemas.microsoft.com/office/drawing/2014/main" id="{0E2F3F91-4073-4018-A640-F36B816E77DA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728564" y="4733122"/>
            <a:ext cx="7073495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="" xmlns:a16="http://schemas.microsoft.com/office/drawing/2014/main" id="{D99A7AB6-A20A-4FF1-A703-0C449EEF0B0E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728564" y="4439229"/>
            <a:ext cx="3025915" cy="2077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6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10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="" xmlns:a16="http://schemas.microsoft.com/office/drawing/2014/main" id="{BA7C48D8-0F4A-43F2-B425-8A49E4F2DFB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683212" y="3340511"/>
            <a:ext cx="2610681" cy="2393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98636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3108960" y="2"/>
            <a:ext cx="10708640" cy="77723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37A9093B-3432-154B-91D3-38327BBF6EB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" y="1"/>
            <a:ext cx="9483207" cy="77724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=""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 userDrawn="1"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210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="" xmlns:a16="http://schemas.microsoft.com/office/drawing/2014/main" id="{C86EBE8C-2CF4-40B7-B289-3EE472179A8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45929" y="4769130"/>
            <a:ext cx="7194628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5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="" xmlns:a16="http://schemas.microsoft.com/office/drawing/2014/main" id="{70EB308C-F021-4F1B-A609-C22651ED189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5929" y="5351817"/>
            <a:ext cx="3693083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="" xmlns:a16="http://schemas.microsoft.com/office/drawing/2014/main" id="{0BBB8318-EB82-4BAF-B07D-883DE61EDB2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45929" y="4251960"/>
            <a:ext cx="3299154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=""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616055" y="3589973"/>
            <a:ext cx="9231418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="" xmlns:a16="http://schemas.microsoft.com/office/drawing/2014/main" id="{544908D1-6B61-43B7-9B66-869C15C36F6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45929" y="2513439"/>
            <a:ext cx="719462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800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="" xmlns:a16="http://schemas.microsoft.com/office/drawing/2014/main" id="{9C246A3E-6BB1-4A8C-8940-43DA547E6A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45929" y="3941064"/>
            <a:ext cx="7194628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500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27345893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=""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3108960" y="2"/>
            <a:ext cx="10708640" cy="77723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1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37A9093B-3432-154B-91D3-38327BBF6EB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>
          <a:xfrm>
            <a:off x="2" y="1"/>
            <a:ext cx="9483207" cy="77724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=""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 userDrawn="1"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210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=""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="" xmlns:a16="http://schemas.microsoft.com/office/drawing/2014/main" id="{C86EBE8C-2CF4-40B7-B289-3EE472179A8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645929" y="4769130"/>
            <a:ext cx="7194628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5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="" xmlns:a16="http://schemas.microsoft.com/office/drawing/2014/main" id="{70EB308C-F021-4F1B-A609-C22651ED189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645929" y="5351817"/>
            <a:ext cx="3693083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1000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="" xmlns:a16="http://schemas.microsoft.com/office/drawing/2014/main" id="{0BBB8318-EB82-4BAF-B07D-883DE61EDB2A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645929" y="4251960"/>
            <a:ext cx="3299154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50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=""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2616055" y="3589973"/>
            <a:ext cx="9231418" cy="320040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en-GB" sz="2200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="" xmlns:a16="http://schemas.microsoft.com/office/drawing/2014/main" id="{544908D1-6B61-43B7-9B66-869C15C36F6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645929" y="2513439"/>
            <a:ext cx="7194628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800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="" xmlns:a16="http://schemas.microsoft.com/office/drawing/2014/main" id="{9C246A3E-6BB1-4A8C-8940-43DA547E6A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645929" y="3941064"/>
            <a:ext cx="7194628" cy="2308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500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5313160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CCBFFE-32FB-4BD7-B766-4043C8227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7200" y="1272011"/>
            <a:ext cx="10363200" cy="2705947"/>
          </a:xfrm>
        </p:spPr>
        <p:txBody>
          <a:bodyPr anchor="b"/>
          <a:lstStyle>
            <a:lvl1pPr algn="ctr">
              <a:defRPr sz="6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29311D3D-44FC-4F23-85C6-F745CA9205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7200" y="4082310"/>
            <a:ext cx="10363200" cy="1876530"/>
          </a:xfrm>
        </p:spPr>
        <p:txBody>
          <a:bodyPr/>
          <a:lstStyle>
            <a:lvl1pPr marL="0" indent="0" algn="ctr">
              <a:buNone/>
              <a:defRPr sz="2720"/>
            </a:lvl1pPr>
            <a:lvl2pPr marL="518145" indent="0" algn="ctr">
              <a:buNone/>
              <a:defRPr sz="2267"/>
            </a:lvl2pPr>
            <a:lvl3pPr marL="1036290" indent="0" algn="ctr">
              <a:buNone/>
              <a:defRPr sz="2040"/>
            </a:lvl3pPr>
            <a:lvl4pPr marL="1554434" indent="0" algn="ctr">
              <a:buNone/>
              <a:defRPr sz="1813"/>
            </a:lvl4pPr>
            <a:lvl5pPr marL="2072579" indent="0" algn="ctr">
              <a:buNone/>
              <a:defRPr sz="1813"/>
            </a:lvl5pPr>
            <a:lvl6pPr marL="2590724" indent="0" algn="ctr">
              <a:buNone/>
              <a:defRPr sz="1813"/>
            </a:lvl6pPr>
            <a:lvl7pPr marL="3108869" indent="0" algn="ctr">
              <a:buNone/>
              <a:defRPr sz="1813"/>
            </a:lvl7pPr>
            <a:lvl8pPr marL="3627013" indent="0" algn="ctr">
              <a:buNone/>
              <a:defRPr sz="1813"/>
            </a:lvl8pPr>
            <a:lvl9pPr marL="4145158" indent="0" algn="ctr">
              <a:buNone/>
              <a:defRPr sz="181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AA1C528-864C-4EB5-8926-CD7CF10F5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69B9F1F-BF57-44FF-8704-C5717CB13B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AB4A7F5-2888-4F9E-8633-BD95AF39F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8198142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FABC7E1-5B93-46D1-9BAD-E8F63B98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EE651BC-E3FF-4B22-B1D7-EDAF632D1B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AF6A5B6-8F5F-4DA5-B7A7-83CDC28F8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C1EACAC-9217-4583-A583-0CAC30622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1A4EBC2-F643-41E2-BEA5-90225D2E8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018331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8DE11F8-C916-43A4-B740-482536982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2763" y="1937704"/>
            <a:ext cx="11917680" cy="3233102"/>
          </a:xfrm>
        </p:spPr>
        <p:txBody>
          <a:bodyPr anchor="b"/>
          <a:lstStyle>
            <a:lvl1pPr>
              <a:defRPr sz="6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3C4B52A-F3A6-4D41-A9E7-688EA35322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2763" y="5201392"/>
            <a:ext cx="11917680" cy="1700212"/>
          </a:xfrm>
        </p:spPr>
        <p:txBody>
          <a:bodyPr/>
          <a:lstStyle>
            <a:lvl1pPr marL="0" indent="0">
              <a:buNone/>
              <a:defRPr sz="2720">
                <a:solidFill>
                  <a:schemeClr val="tx1">
                    <a:tint val="75000"/>
                  </a:schemeClr>
                </a:solidFill>
              </a:defRPr>
            </a:lvl1pPr>
            <a:lvl2pPr marL="518145" indent="0">
              <a:buNone/>
              <a:defRPr sz="2267">
                <a:solidFill>
                  <a:schemeClr val="tx1">
                    <a:tint val="75000"/>
                  </a:schemeClr>
                </a:solidFill>
              </a:defRPr>
            </a:lvl2pPr>
            <a:lvl3pPr marL="1036290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3pPr>
            <a:lvl4pPr marL="1554434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4pPr>
            <a:lvl5pPr marL="2072579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5pPr>
            <a:lvl6pPr marL="2590724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6pPr>
            <a:lvl7pPr marL="3108869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7pPr>
            <a:lvl8pPr marL="3627013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8pPr>
            <a:lvl9pPr marL="4145158" indent="0">
              <a:buNone/>
              <a:defRPr sz="181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A0D86BE-524A-4C14-A15B-8D4A029104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7DCFA95-9E7F-4E69-A0C5-F37D634D8E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D5BB286-6B98-4C88-BC99-E88A368D4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960178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4075939-2205-4815-9167-19BE4888A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C56BD40-C08A-4B71-B4A0-8398052033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49960" y="2069042"/>
            <a:ext cx="587248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695218E-A153-487E-BE2B-F788EABCDF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95160" y="2069042"/>
            <a:ext cx="5872480" cy="49315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684053B-42BD-4D53-9D28-547DBFD30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28E0818-E78D-4DE9-BAC5-0FB2407A2B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749144B-43A0-4E79-9C77-3D9DC1794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732198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6EE6704-053D-4751-AAC5-F1F537A2C9F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728564" y="2057400"/>
            <a:ext cx="6079744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3"/>
            </p:custDataLst>
          </p:nvPr>
        </p:nvSpPr>
        <p:spPr>
          <a:xfrm>
            <a:off x="7009292" y="2057400"/>
            <a:ext cx="6079744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0" name="Draft stamp" hidden="1">
            <a:extLst>
              <a:ext uri="{FF2B5EF4-FFF2-40B4-BE49-F238E27FC236}">
                <a16:creationId xmlns="" xmlns:a16="http://schemas.microsoft.com/office/drawing/2014/main" id="{26555BDF-7C84-4592-ACD1-DDDDF84190D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="" xmlns:a16="http://schemas.microsoft.com/office/drawing/2014/main" id="{A8AA2BC8-1024-45CC-9E76-6C0E7A21F6C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="" xmlns:a16="http://schemas.microsoft.com/office/drawing/2014/main" id="{A89B890D-CBFA-4D2C-BB10-C27690A9929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="" xmlns:a16="http://schemas.microsoft.com/office/drawing/2014/main" id="{57CE9966-8074-4152-9D34-F90B6B3C28D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="" xmlns:a16="http://schemas.microsoft.com/office/drawing/2014/main" id="{FC58C329-4792-4816-A60A-3D2DCE9CA036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B5AFC1A6-EFD9-4BBD-86EB-FA5F92D972EA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A55CE69C-839D-427C-8F86-57156ADECE5D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7630CF9-736E-4848-90FA-FB56003F6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1760" y="413809"/>
            <a:ext cx="11917680" cy="150230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7C8B755-4705-4012-82FB-599EA66840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51760" y="1905318"/>
            <a:ext cx="5845492" cy="933767"/>
          </a:xfrm>
        </p:spPr>
        <p:txBody>
          <a:bodyPr anchor="b"/>
          <a:lstStyle>
            <a:lvl1pPr marL="0" indent="0">
              <a:buNone/>
              <a:defRPr sz="2720" b="1"/>
            </a:lvl1pPr>
            <a:lvl2pPr marL="518145" indent="0">
              <a:buNone/>
              <a:defRPr sz="2267" b="1"/>
            </a:lvl2pPr>
            <a:lvl3pPr marL="1036290" indent="0">
              <a:buNone/>
              <a:defRPr sz="2040" b="1"/>
            </a:lvl3pPr>
            <a:lvl4pPr marL="1554434" indent="0">
              <a:buNone/>
              <a:defRPr sz="1813" b="1"/>
            </a:lvl4pPr>
            <a:lvl5pPr marL="2072579" indent="0">
              <a:buNone/>
              <a:defRPr sz="1813" b="1"/>
            </a:lvl5pPr>
            <a:lvl6pPr marL="2590724" indent="0">
              <a:buNone/>
              <a:defRPr sz="1813" b="1"/>
            </a:lvl6pPr>
            <a:lvl7pPr marL="3108869" indent="0">
              <a:buNone/>
              <a:defRPr sz="1813" b="1"/>
            </a:lvl7pPr>
            <a:lvl8pPr marL="3627013" indent="0">
              <a:buNone/>
              <a:defRPr sz="1813" b="1"/>
            </a:lvl8pPr>
            <a:lvl9pPr marL="4145158" indent="0">
              <a:buNone/>
              <a:defRPr sz="18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1CFF4034-D72A-4015-8A7B-493261B064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51760" y="2839085"/>
            <a:ext cx="5845492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F24A398-02EF-4A7D-AD38-3B305F353C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995160" y="1905318"/>
            <a:ext cx="5874280" cy="933767"/>
          </a:xfrm>
        </p:spPr>
        <p:txBody>
          <a:bodyPr anchor="b"/>
          <a:lstStyle>
            <a:lvl1pPr marL="0" indent="0">
              <a:buNone/>
              <a:defRPr sz="2720" b="1"/>
            </a:lvl1pPr>
            <a:lvl2pPr marL="518145" indent="0">
              <a:buNone/>
              <a:defRPr sz="2267" b="1"/>
            </a:lvl2pPr>
            <a:lvl3pPr marL="1036290" indent="0">
              <a:buNone/>
              <a:defRPr sz="2040" b="1"/>
            </a:lvl3pPr>
            <a:lvl4pPr marL="1554434" indent="0">
              <a:buNone/>
              <a:defRPr sz="1813" b="1"/>
            </a:lvl4pPr>
            <a:lvl5pPr marL="2072579" indent="0">
              <a:buNone/>
              <a:defRPr sz="1813" b="1"/>
            </a:lvl5pPr>
            <a:lvl6pPr marL="2590724" indent="0">
              <a:buNone/>
              <a:defRPr sz="1813" b="1"/>
            </a:lvl6pPr>
            <a:lvl7pPr marL="3108869" indent="0">
              <a:buNone/>
              <a:defRPr sz="1813" b="1"/>
            </a:lvl7pPr>
            <a:lvl8pPr marL="3627013" indent="0">
              <a:buNone/>
              <a:defRPr sz="1813" b="1"/>
            </a:lvl8pPr>
            <a:lvl9pPr marL="4145158" indent="0">
              <a:buNone/>
              <a:defRPr sz="181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EA155AAC-AB45-49EF-B182-ABCDAC7F21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995160" y="2839085"/>
            <a:ext cx="5874280" cy="41758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BB541827-2DD1-4941-9264-7BF813FBE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7407747-0AE1-455B-88F2-F42D77C0B4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F9872DD8-F4C1-47A8-9544-185C29379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9885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FFED64F-7AC0-4045-ABF4-078456443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9D6AE8B-08F2-43A1-AD43-504591AD14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76F0298-FBFF-4CED-9F92-0C51BB925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527E2EEB-BE37-40B6-A25E-0C6EB79FD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092093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9A7A8C7C-B309-4E77-A258-0F79D68EB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350CD935-FFAF-4299-966D-D669335A5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2FDBC59-2344-4513-885A-F283FF50E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210971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43DC4EB-4EBA-47E3-8864-F7D8C57EE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1760" y="518160"/>
            <a:ext cx="4456535" cy="1813560"/>
          </a:xfrm>
        </p:spPr>
        <p:txBody>
          <a:bodyPr anchor="b"/>
          <a:lstStyle>
            <a:lvl1pPr>
              <a:defRPr sz="362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3CE9F06-64B2-4DAA-97E8-04D3DC9FFE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4280" y="1119082"/>
            <a:ext cx="6995160" cy="5523442"/>
          </a:xfrm>
        </p:spPr>
        <p:txBody>
          <a:bodyPr/>
          <a:lstStyle>
            <a:lvl1pPr>
              <a:defRPr sz="3627"/>
            </a:lvl1pPr>
            <a:lvl2pPr>
              <a:defRPr sz="3173"/>
            </a:lvl2pPr>
            <a:lvl3pPr>
              <a:defRPr sz="2720"/>
            </a:lvl3pPr>
            <a:lvl4pPr>
              <a:defRPr sz="2267"/>
            </a:lvl4pPr>
            <a:lvl5pPr>
              <a:defRPr sz="2267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5AAEAE1-3535-4C14-9EA5-DA63853345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1760" y="2331720"/>
            <a:ext cx="4456535" cy="4319800"/>
          </a:xfrm>
        </p:spPr>
        <p:txBody>
          <a:bodyPr/>
          <a:lstStyle>
            <a:lvl1pPr marL="0" indent="0">
              <a:buNone/>
              <a:defRPr sz="1813"/>
            </a:lvl1pPr>
            <a:lvl2pPr marL="518145" indent="0">
              <a:buNone/>
              <a:defRPr sz="1587"/>
            </a:lvl2pPr>
            <a:lvl3pPr marL="1036290" indent="0">
              <a:buNone/>
              <a:defRPr sz="1360"/>
            </a:lvl3pPr>
            <a:lvl4pPr marL="1554434" indent="0">
              <a:buNone/>
              <a:defRPr sz="1133"/>
            </a:lvl4pPr>
            <a:lvl5pPr marL="2072579" indent="0">
              <a:buNone/>
              <a:defRPr sz="1133"/>
            </a:lvl5pPr>
            <a:lvl6pPr marL="2590724" indent="0">
              <a:buNone/>
              <a:defRPr sz="1133"/>
            </a:lvl6pPr>
            <a:lvl7pPr marL="3108869" indent="0">
              <a:buNone/>
              <a:defRPr sz="1133"/>
            </a:lvl7pPr>
            <a:lvl8pPr marL="3627013" indent="0">
              <a:buNone/>
              <a:defRPr sz="1133"/>
            </a:lvl8pPr>
            <a:lvl9pPr marL="4145158" indent="0">
              <a:buNone/>
              <a:defRPr sz="1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42BAB0F-9387-482D-9E61-2E780EC85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679ECAB-8A20-4FEA-BB70-8F958FA83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48140B9-AC7E-4CA4-BC14-570BABA1F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671953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5C78359-0D27-4372-8772-260B174A0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1760" y="518160"/>
            <a:ext cx="4456535" cy="1813560"/>
          </a:xfrm>
        </p:spPr>
        <p:txBody>
          <a:bodyPr anchor="b"/>
          <a:lstStyle>
            <a:lvl1pPr>
              <a:defRPr sz="362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106BAC5-4775-4C53-8FBB-5DC67C0210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874280" y="1119082"/>
            <a:ext cx="6995160" cy="5523442"/>
          </a:xfrm>
        </p:spPr>
        <p:txBody>
          <a:bodyPr/>
          <a:lstStyle>
            <a:lvl1pPr marL="0" indent="0">
              <a:buNone/>
              <a:defRPr sz="3627"/>
            </a:lvl1pPr>
            <a:lvl2pPr marL="518145" indent="0">
              <a:buNone/>
              <a:defRPr sz="3173"/>
            </a:lvl2pPr>
            <a:lvl3pPr marL="1036290" indent="0">
              <a:buNone/>
              <a:defRPr sz="2720"/>
            </a:lvl3pPr>
            <a:lvl4pPr marL="1554434" indent="0">
              <a:buNone/>
              <a:defRPr sz="2267"/>
            </a:lvl4pPr>
            <a:lvl5pPr marL="2072579" indent="0">
              <a:buNone/>
              <a:defRPr sz="2267"/>
            </a:lvl5pPr>
            <a:lvl6pPr marL="2590724" indent="0">
              <a:buNone/>
              <a:defRPr sz="2267"/>
            </a:lvl6pPr>
            <a:lvl7pPr marL="3108869" indent="0">
              <a:buNone/>
              <a:defRPr sz="2267"/>
            </a:lvl7pPr>
            <a:lvl8pPr marL="3627013" indent="0">
              <a:buNone/>
              <a:defRPr sz="2267"/>
            </a:lvl8pPr>
            <a:lvl9pPr marL="4145158" indent="0">
              <a:buNone/>
              <a:defRPr sz="2267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6DE7111-A296-4ED7-B03E-EDDFCA34E7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51760" y="2331720"/>
            <a:ext cx="4456535" cy="4319800"/>
          </a:xfrm>
        </p:spPr>
        <p:txBody>
          <a:bodyPr/>
          <a:lstStyle>
            <a:lvl1pPr marL="0" indent="0">
              <a:buNone/>
              <a:defRPr sz="1813"/>
            </a:lvl1pPr>
            <a:lvl2pPr marL="518145" indent="0">
              <a:buNone/>
              <a:defRPr sz="1587"/>
            </a:lvl2pPr>
            <a:lvl3pPr marL="1036290" indent="0">
              <a:buNone/>
              <a:defRPr sz="1360"/>
            </a:lvl3pPr>
            <a:lvl4pPr marL="1554434" indent="0">
              <a:buNone/>
              <a:defRPr sz="1133"/>
            </a:lvl4pPr>
            <a:lvl5pPr marL="2072579" indent="0">
              <a:buNone/>
              <a:defRPr sz="1133"/>
            </a:lvl5pPr>
            <a:lvl6pPr marL="2590724" indent="0">
              <a:buNone/>
              <a:defRPr sz="1133"/>
            </a:lvl6pPr>
            <a:lvl7pPr marL="3108869" indent="0">
              <a:buNone/>
              <a:defRPr sz="1133"/>
            </a:lvl7pPr>
            <a:lvl8pPr marL="3627013" indent="0">
              <a:buNone/>
              <a:defRPr sz="1133"/>
            </a:lvl8pPr>
            <a:lvl9pPr marL="4145158" indent="0">
              <a:buNone/>
              <a:defRPr sz="113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BDC23990-3B40-4600-9A82-BF9B05786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430FB1A-D5EE-43CD-8C36-B02C0F812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36BFDAA-30D2-4F5E-BB45-36D52131B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449252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502DFD-F05E-45F4-9592-35C84682F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CFC7F56E-6C27-4036-AEF8-A84ED22014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A373612-BC33-4563-B236-24AF05AD1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1F5C9BC-91DB-4D75-AFB0-B8CD78216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D6C0BBF-C653-4873-9A86-E65E3DFD5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90339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71C6CB3C-D6DE-4AEA-A48E-525D8C4899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888220" y="413808"/>
            <a:ext cx="2979420" cy="65867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3AC8823B-55D7-4A42-ACF6-FAB18FC39F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49960" y="413808"/>
            <a:ext cx="8765540" cy="65867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BAE88A4-EA96-407B-A362-F3308519B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288FC6D-6AD5-4223-B25D-D0230D4D5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E896DC8-78FA-4C6E-97A5-A31C9C6846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965461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87" b="0" i="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99982" y="2281343"/>
            <a:ext cx="5576697" cy="439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7123260" y="2281343"/>
            <a:ext cx="5576697" cy="439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="" xmlns:p14="http://schemas.microsoft.com/office/powerpoint/2010/main" val="1658293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0CEDA996-9EE8-4EB0-9181-872EA254580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728564" y="2057400"/>
            <a:ext cx="8182392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3"/>
            </p:custDataLst>
          </p:nvPr>
        </p:nvSpPr>
        <p:spPr>
          <a:xfrm>
            <a:off x="9107056" y="2057400"/>
            <a:ext cx="3973607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4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5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0" name="Draft stamp" hidden="1">
            <a:extLst>
              <a:ext uri="{FF2B5EF4-FFF2-40B4-BE49-F238E27FC236}">
                <a16:creationId xmlns="" xmlns:a16="http://schemas.microsoft.com/office/drawing/2014/main" id="{176703B5-D291-496D-B26E-525DA3A3675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3" name="Report Date">
            <a:extLst>
              <a:ext uri="{FF2B5EF4-FFF2-40B4-BE49-F238E27FC236}">
                <a16:creationId xmlns="" xmlns:a16="http://schemas.microsoft.com/office/drawing/2014/main" id="{53D88DCA-117D-416D-82D2-2367ED968B27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4" name="Page Number">
            <a:extLst>
              <a:ext uri="{FF2B5EF4-FFF2-40B4-BE49-F238E27FC236}">
                <a16:creationId xmlns="" xmlns:a16="http://schemas.microsoft.com/office/drawing/2014/main" id="{D7336B48-3136-4E82-8B16-FBC22E8CAE0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="" xmlns:a16="http://schemas.microsoft.com/office/drawing/2014/main" id="{90BED7C2-73F9-48D2-A750-793071C5693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="" xmlns:a16="http://schemas.microsoft.com/office/drawing/2014/main" id="{951C7BF0-CFC4-4094-AA1F-87A845BB8958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72F61651-EB89-48D4-A6DE-27384110A6BB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F3DD7B9E-30C4-4159-BFEE-77F215166572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180EC31-BC5E-491D-A3C3-2623BD5C9CD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728564" y="2057400"/>
            <a:ext cx="6075558" cy="2362200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3"/>
            </p:custDataLst>
          </p:nvPr>
        </p:nvSpPr>
        <p:spPr>
          <a:xfrm>
            <a:off x="728564" y="4581144"/>
            <a:ext cx="6075558" cy="235915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4"/>
            </p:custDataLst>
          </p:nvPr>
        </p:nvSpPr>
        <p:spPr>
          <a:xfrm>
            <a:off x="7013479" y="2057400"/>
            <a:ext cx="6079744" cy="4882896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4" name="HeaderTOCPlaceholder"/>
          <p:cNvSpPr txBox="1"/>
          <p:nvPr userDrawn="1">
            <p:custDataLst>
              <p:tags r:id="rId5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20" name="Slide Tags" hidden="1"/>
          <p:cNvSpPr txBox="1"/>
          <p:nvPr userDrawn="1">
            <p:custDataLst>
              <p:tags r:id="rId8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4" name="Draft stamp" hidden="1">
            <a:extLst>
              <a:ext uri="{FF2B5EF4-FFF2-40B4-BE49-F238E27FC236}">
                <a16:creationId xmlns="" xmlns:a16="http://schemas.microsoft.com/office/drawing/2014/main" id="{98F467DD-E508-4793-B8C1-41188C0178B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19" name="Report Date">
            <a:extLst>
              <a:ext uri="{FF2B5EF4-FFF2-40B4-BE49-F238E27FC236}">
                <a16:creationId xmlns="" xmlns:a16="http://schemas.microsoft.com/office/drawing/2014/main" id="{BDC234B1-84B0-44C3-BE38-95CEC0CA13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1" name="Page Number">
            <a:extLst>
              <a:ext uri="{FF2B5EF4-FFF2-40B4-BE49-F238E27FC236}">
                <a16:creationId xmlns="" xmlns:a16="http://schemas.microsoft.com/office/drawing/2014/main" id="{B4A20242-E44A-4263-95BA-D1D5664EE2C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3" name="Presentation Disclaimer">
            <a:extLst>
              <a:ext uri="{FF2B5EF4-FFF2-40B4-BE49-F238E27FC236}">
                <a16:creationId xmlns="" xmlns:a16="http://schemas.microsoft.com/office/drawing/2014/main" id="{885D6D75-46D2-4F31-9186-3D5BFAC2EBA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6" name="Section Footer">
            <a:extLst>
              <a:ext uri="{FF2B5EF4-FFF2-40B4-BE49-F238E27FC236}">
                <a16:creationId xmlns="" xmlns:a16="http://schemas.microsoft.com/office/drawing/2014/main" id="{880E68C9-26BA-4DB5-861B-DC433ABD5EC6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FDB6D62A-63C1-496F-864F-F8EA90700F13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EFA8B007-F8F4-4D8B-B7BA-C35A62369B11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8F4BFE81-4726-4D9A-8378-E6FFC694C9B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46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1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2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6"/>
            </p:custDataLst>
          </p:nvPr>
        </p:nvSpPr>
        <p:spPr>
          <a:xfrm>
            <a:off x="728564" y="2057400"/>
            <a:ext cx="6079744" cy="23580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7"/>
            </p:custDataLst>
          </p:nvPr>
        </p:nvSpPr>
        <p:spPr>
          <a:xfrm>
            <a:off x="7009292" y="2057400"/>
            <a:ext cx="6079744" cy="23580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8"/>
            </p:custDataLst>
          </p:nvPr>
        </p:nvSpPr>
        <p:spPr>
          <a:xfrm>
            <a:off x="728565" y="4582296"/>
            <a:ext cx="12360471" cy="23580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5" name="Draft stamp" hidden="1">
            <a:extLst>
              <a:ext uri="{FF2B5EF4-FFF2-40B4-BE49-F238E27FC236}">
                <a16:creationId xmlns="" xmlns:a16="http://schemas.microsoft.com/office/drawing/2014/main" id="{E4D3AC3D-FB5C-4056-B3CE-C6F201747179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="" xmlns:a16="http://schemas.microsoft.com/office/drawing/2014/main" id="{D8BE6AE2-E4FA-4A4C-9F4A-0801F27EF15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7" name="Page Number">
            <a:extLst>
              <a:ext uri="{FF2B5EF4-FFF2-40B4-BE49-F238E27FC236}">
                <a16:creationId xmlns="" xmlns:a16="http://schemas.microsoft.com/office/drawing/2014/main" id="{B132AC77-15B7-427D-9EDA-27E044A04CD8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9" name="Presentation Disclaimer">
            <a:extLst>
              <a:ext uri="{FF2B5EF4-FFF2-40B4-BE49-F238E27FC236}">
                <a16:creationId xmlns="" xmlns:a16="http://schemas.microsoft.com/office/drawing/2014/main" id="{C1ACCB47-82D5-446E-80FB-2690A95152B9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30" name="Section Footer">
            <a:extLst>
              <a:ext uri="{FF2B5EF4-FFF2-40B4-BE49-F238E27FC236}">
                <a16:creationId xmlns="" xmlns:a16="http://schemas.microsoft.com/office/drawing/2014/main" id="{9A254952-4576-4CFE-B61C-9E618027811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2DDE2759-0B78-4BAC-9091-A3898FCC7E2D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9D178E40-037A-4FB9-9A78-25D7EB7BC066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24A4F643-E7DF-4FE7-88D6-91AA597EB2A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 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2"/>
            </p:custDataLst>
          </p:nvPr>
        </p:nvSpPr>
        <p:spPr>
          <a:xfrm>
            <a:off x="728564" y="2057401"/>
            <a:ext cx="3981981" cy="4788717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5" name="HeaderTOCPlaceholder"/>
          <p:cNvSpPr txBox="1"/>
          <p:nvPr userDrawn="1">
            <p:custDataLst>
              <p:tags r:id="rId3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19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7"/>
            </p:custDataLst>
          </p:nvPr>
        </p:nvSpPr>
        <p:spPr>
          <a:xfrm>
            <a:off x="4917810" y="2057401"/>
            <a:ext cx="3981981" cy="4788717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8"/>
            </p:custDataLst>
          </p:nvPr>
        </p:nvSpPr>
        <p:spPr>
          <a:xfrm>
            <a:off x="9107055" y="2057401"/>
            <a:ext cx="3981981" cy="4788717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Report Date">
            <a:extLst>
              <a:ext uri="{FF2B5EF4-FFF2-40B4-BE49-F238E27FC236}">
                <a16:creationId xmlns="" xmlns:a16="http://schemas.microsoft.com/office/drawing/2014/main" id="{71242622-92E5-4577-9939-C23982B6F01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5" name="Page Number">
            <a:extLst>
              <a:ext uri="{FF2B5EF4-FFF2-40B4-BE49-F238E27FC236}">
                <a16:creationId xmlns="" xmlns:a16="http://schemas.microsoft.com/office/drawing/2014/main" id="{7253FE5D-87D6-4F45-BF52-14884C4140B0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6" name="Presentation Disclaimer">
            <a:extLst>
              <a:ext uri="{FF2B5EF4-FFF2-40B4-BE49-F238E27FC236}">
                <a16:creationId xmlns="" xmlns:a16="http://schemas.microsoft.com/office/drawing/2014/main" id="{2DE48912-752E-4B28-992E-A8018FA045F2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7" name="Section Footer">
            <a:extLst>
              <a:ext uri="{FF2B5EF4-FFF2-40B4-BE49-F238E27FC236}">
                <a16:creationId xmlns="" xmlns:a16="http://schemas.microsoft.com/office/drawing/2014/main" id="{24E13DC1-0CD8-4F00-BEB6-8ED480D16571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87E1B077-C346-4667-9422-134889A69A8E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="" xmlns:a16="http://schemas.microsoft.com/office/drawing/2014/main" id="{430B69CA-5FCE-4A4A-B144-701CC8BBBE64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raft stamp" hidden="1">
            <a:extLst>
              <a:ext uri="{FF2B5EF4-FFF2-40B4-BE49-F238E27FC236}">
                <a16:creationId xmlns="" xmlns:a16="http://schemas.microsoft.com/office/drawing/2014/main" id="{8BA4733D-DD24-4E66-AB15-27D0B8AA9EB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</p:spTree>
    <p:extLst>
      <p:ext uri="{BB962C8B-B14F-4D97-AF65-F5344CB8AC3E}">
        <p14:creationId xmlns="" xmlns:p14="http://schemas.microsoft.com/office/powerpoint/2010/main" val="273937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6885665-0D77-4758-B8B0-BCA2447CE92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728565" y="1069848"/>
            <a:ext cx="12360471" cy="84124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824" rtl="0" eaLnBrk="1" latinLnBrk="0" hangingPunct="1">
              <a:spcBef>
                <a:spcPct val="0"/>
              </a:spcBef>
              <a:buNone/>
              <a:defRPr lang="en-GB" sz="3000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1018824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728564" y="2057400"/>
            <a:ext cx="6079744" cy="235915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7009292" y="2057400"/>
            <a:ext cx="6079744" cy="235915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728564" y="4581144"/>
            <a:ext cx="6079744" cy="235915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7009292" y="4581144"/>
            <a:ext cx="6079744" cy="2359152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1" name="HeaderTOCPlaceholder"/>
          <p:cNvSpPr txBox="1"/>
          <p:nvPr userDrawn="1">
            <p:custDataLst>
              <p:tags r:id="rId2"/>
            </p:custDataLst>
          </p:nvPr>
        </p:nvSpPr>
        <p:spPr>
          <a:xfrm>
            <a:off x="4919903" y="704089"/>
            <a:ext cx="8159195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900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728564" y="704088"/>
            <a:ext cx="416844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2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  <p:sp>
        <p:nvSpPr>
          <p:cNvPr id="20" name="Report Date">
            <a:extLst>
              <a:ext uri="{FF2B5EF4-FFF2-40B4-BE49-F238E27FC236}">
                <a16:creationId xmlns="" xmlns:a16="http://schemas.microsoft.com/office/drawing/2014/main" id="{C9AC37EA-A51B-4D19-8AFD-D5550BB1DBD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2502337" y="7159753"/>
            <a:ext cx="5866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>
              <a:spcAft>
                <a:spcPts val="900"/>
              </a:spcAft>
            </a:pPr>
            <a:r>
              <a:rPr lang="en-GB" sz="800" noProof="1">
                <a:solidFill>
                  <a:schemeClr val="tx1"/>
                </a:solidFill>
                <a:latin typeface="+mn-lt"/>
              </a:rPr>
              <a:t>26 July 2021</a:t>
            </a:r>
          </a:p>
        </p:txBody>
      </p:sp>
      <p:sp>
        <p:nvSpPr>
          <p:cNvPr id="22" name="Page Number">
            <a:extLst>
              <a:ext uri="{FF2B5EF4-FFF2-40B4-BE49-F238E27FC236}">
                <a16:creationId xmlns="" xmlns:a16="http://schemas.microsoft.com/office/drawing/2014/main" id="{D5E4965D-0DB2-40AB-8C54-A02F73111BD4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12649385" y="7313865"/>
            <a:ext cx="439651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25" name="Presentation Disclaimer">
            <a:extLst>
              <a:ext uri="{FF2B5EF4-FFF2-40B4-BE49-F238E27FC236}">
                <a16:creationId xmlns="" xmlns:a16="http://schemas.microsoft.com/office/drawing/2014/main" id="{5D5F1A31-F3C3-4E8D-8EE5-5D802CF63C9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728565" y="7159753"/>
            <a:ext cx="1399422" cy="123111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Strictly private and confidential</a:t>
            </a:r>
          </a:p>
        </p:txBody>
      </p:sp>
      <p:sp>
        <p:nvSpPr>
          <p:cNvPr id="28" name="Section Footer">
            <a:extLst>
              <a:ext uri="{FF2B5EF4-FFF2-40B4-BE49-F238E27FC236}">
                <a16:creationId xmlns="" xmlns:a16="http://schemas.microsoft.com/office/drawing/2014/main" id="{386FB611-2223-4501-B9AF-3FF472560856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1168984" y="7331155"/>
            <a:ext cx="3363471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endParaRPr lang="en-GB" sz="800" noProof="1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337E43E-8B9E-4332-A613-62823857903C}"/>
              </a:ext>
            </a:extLst>
          </p:cNvPr>
          <p:cNvSpPr txBox="1"/>
          <p:nvPr userDrawn="1"/>
        </p:nvSpPr>
        <p:spPr>
          <a:xfrm>
            <a:off x="728564" y="7331155"/>
            <a:ext cx="320485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800" noProof="0" dirty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B42FC379-8CCB-4D1B-B59F-CD6E374799E5}"/>
              </a:ext>
            </a:extLst>
          </p:cNvPr>
          <p:cNvCxnSpPr>
            <a:cxnSpLocks/>
          </p:cNvCxnSpPr>
          <p:nvPr userDrawn="1"/>
        </p:nvCxnSpPr>
        <p:spPr>
          <a:xfrm>
            <a:off x="1098548" y="7342417"/>
            <a:ext cx="0" cy="100584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raft stamp" hidden="1">
            <a:extLst>
              <a:ext uri="{FF2B5EF4-FFF2-40B4-BE49-F238E27FC236}">
                <a16:creationId xmlns="" xmlns:a16="http://schemas.microsoft.com/office/drawing/2014/main" id="{2F22AEF7-CCE6-447D-A2ED-AE17E661B936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924090" y="7331155"/>
            <a:ext cx="2926819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800" noProof="1">
                <a:solidFill>
                  <a:schemeClr val="tx1"/>
                </a:solidFill>
              </a:rPr>
              <a:t>Draft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532597" y="303093"/>
            <a:ext cx="8541789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US" sz="900" noProof="1"/>
              <a:t>22/10/2021 C:\Users\shashvatd526\Desktop\PwC Projects\Jan Aadhaar\DBT Bharat\Meeting with JS\Meeting with JS_23_July_21_v1.0.pptx</a:t>
            </a:r>
            <a:endParaRPr lang="en-GB" sz="900" noProof="1"/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28600"/>
            <a:ext cx="21982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noProof="1"/>
              <a:t>Slide Tag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/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218081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GB" sz="28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8565" y="1069848"/>
            <a:ext cx="12360471" cy="8412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565" y="2057400"/>
            <a:ext cx="12360471" cy="4881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777728" y="7086600"/>
            <a:ext cx="2298746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8565" y="7086600"/>
            <a:ext cx="7938839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77728" y="7242048"/>
            <a:ext cx="2298746" cy="155448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32" r:id="rId2"/>
    <p:sldLayoutId id="2147483701" r:id="rId3"/>
    <p:sldLayoutId id="2147483700" r:id="rId4"/>
    <p:sldLayoutId id="2147483697" r:id="rId5"/>
    <p:sldLayoutId id="2147483720" r:id="rId6"/>
    <p:sldLayoutId id="2147483745" r:id="rId7"/>
    <p:sldLayoutId id="2147483696" r:id="rId8"/>
    <p:sldLayoutId id="2147483705" r:id="rId9"/>
    <p:sldLayoutId id="2147483688" r:id="rId10"/>
    <p:sldLayoutId id="2147483721" r:id="rId11"/>
    <p:sldLayoutId id="2147483730" r:id="rId12"/>
    <p:sldLayoutId id="2147483746" r:id="rId13"/>
    <p:sldLayoutId id="2147483733" r:id="rId14"/>
    <p:sldLayoutId id="2147483758" r:id="rId15"/>
    <p:sldLayoutId id="2147483754" r:id="rId16"/>
    <p:sldLayoutId id="2147483751" r:id="rId17"/>
    <p:sldLayoutId id="2147483759" r:id="rId18"/>
    <p:sldLayoutId id="2147483755" r:id="rId19"/>
    <p:sldLayoutId id="2147483739" r:id="rId20"/>
    <p:sldLayoutId id="2147483737" r:id="rId21"/>
    <p:sldLayoutId id="2147483742" r:id="rId22"/>
    <p:sldLayoutId id="2147483747" r:id="rId23"/>
    <p:sldLayoutId id="2147483741" r:id="rId24"/>
    <p:sldLayoutId id="2147483740" r:id="rId25"/>
  </p:sldLayoutIdLst>
  <p:hf sldNum="0" hdr="0" ftr="0" dt="0"/>
  <p:txStyles>
    <p:titleStyle>
      <a:lvl1pPr algn="l" defTabSz="1018824" rtl="0" eaLnBrk="1" latinLnBrk="0" hangingPunct="1">
        <a:spcBef>
          <a:spcPct val="0"/>
        </a:spcBef>
        <a:buNone/>
        <a:defRPr sz="3000" b="0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3495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80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94800" marR="0" indent="-2304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marR="0" indent="-228600" algn="l" defTabSz="101917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34000" marR="0" indent="-230400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+mj-lt"/>
        <a:buAutoNum type="arabicPeriod"/>
        <a:tabLst/>
        <a:defRPr lang="en-GB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68000" marR="0" indent="-228600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+mj-lt"/>
        <a:buAutoNum type="alphaLcPeriod"/>
        <a:tabLst/>
        <a:defRPr lang="en-GB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94800" marR="0" indent="-228600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+mj-lt"/>
        <a:buAutoNum type="romanLcPeriod"/>
        <a:tabLst/>
        <a:defRPr lang="en-GB" sz="14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marR="0" indent="0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itchFamily="34" charset="0"/>
        <a:buNone/>
        <a:tabLst/>
        <a:defRPr lang="en-GB" sz="1400" b="1" kern="1200" baseline="0" noProof="0" dirty="0" smtClean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pos="457" userDrawn="1">
          <p15:clr>
            <a:srgbClr val="A4A3A4"/>
          </p15:clr>
        </p15:guide>
        <p15:guide id="2" pos="1648" userDrawn="1">
          <p15:clr>
            <a:srgbClr val="A4A3A4"/>
          </p15:clr>
        </p15:guide>
        <p15:guide id="3" pos="1778" userDrawn="1">
          <p15:clr>
            <a:srgbClr val="A4A3A4"/>
          </p15:clr>
        </p15:guide>
        <p15:guide id="4" pos="2969" userDrawn="1">
          <p15:clr>
            <a:srgbClr val="A4A3A4"/>
          </p15:clr>
        </p15:guide>
        <p15:guide id="5" pos="3098" userDrawn="1">
          <p15:clr>
            <a:srgbClr val="A4A3A4"/>
          </p15:clr>
        </p15:guide>
        <p15:guide id="6" pos="4287" userDrawn="1">
          <p15:clr>
            <a:srgbClr val="A4A3A4"/>
          </p15:clr>
        </p15:guide>
        <p15:guide id="7" pos="4415" userDrawn="1">
          <p15:clr>
            <a:srgbClr val="A4A3A4"/>
          </p15:clr>
        </p15:guide>
        <p15:guide id="8" pos="5608" userDrawn="1">
          <p15:clr>
            <a:srgbClr val="A4A3A4"/>
          </p15:clr>
        </p15:guide>
        <p15:guide id="9" pos="5737" userDrawn="1">
          <p15:clr>
            <a:srgbClr val="A4A3A4"/>
          </p15:clr>
        </p15:guide>
        <p15:guide id="10" pos="6928" userDrawn="1">
          <p15:clr>
            <a:srgbClr val="A4A3A4"/>
          </p15:clr>
        </p15:guide>
        <p15:guide id="11" pos="7057" userDrawn="1">
          <p15:clr>
            <a:srgbClr val="A4A3A4"/>
          </p15:clr>
        </p15:guide>
        <p15:guide id="12" pos="8248" userDrawn="1">
          <p15:clr>
            <a:srgbClr val="A4A3A4"/>
          </p15:clr>
        </p15:guide>
        <p15:guide id="13" orient="horz" pos="384" userDrawn="1">
          <p15:clr>
            <a:srgbClr val="5ACBF0"/>
          </p15:clr>
        </p15:guide>
        <p15:guide id="14" orient="horz" pos="531" userDrawn="1">
          <p15:clr>
            <a:srgbClr val="5ACBF0"/>
          </p15:clr>
        </p15:guide>
        <p15:guide id="15" orient="horz" pos="673" userDrawn="1">
          <p15:clr>
            <a:srgbClr val="F26B43"/>
          </p15:clr>
        </p15:guide>
        <p15:guide id="16" orient="horz" pos="1199" userDrawn="1">
          <p15:clr>
            <a:srgbClr val="F26B43"/>
          </p15:clr>
        </p15:guide>
        <p15:guide id="17" orient="horz" pos="1294" userDrawn="1">
          <p15:clr>
            <a:srgbClr val="A4A3A4"/>
          </p15:clr>
        </p15:guide>
        <p15:guide id="18" orient="horz" pos="1727" userDrawn="1">
          <p15:clr>
            <a:srgbClr val="A4A3A4"/>
          </p15:clr>
        </p15:guide>
        <p15:guide id="19" orient="horz" pos="1825" userDrawn="1">
          <p15:clr>
            <a:srgbClr val="A4A3A4"/>
          </p15:clr>
        </p15:guide>
        <p15:guide id="20" orient="horz" pos="2257" userDrawn="1">
          <p15:clr>
            <a:srgbClr val="A4A3A4"/>
          </p15:clr>
        </p15:guide>
        <p15:guide id="21" orient="horz" pos="2352" userDrawn="1">
          <p15:clr>
            <a:srgbClr val="A4A3A4"/>
          </p15:clr>
        </p15:guide>
        <p15:guide id="22" orient="horz" pos="2785" userDrawn="1">
          <p15:clr>
            <a:srgbClr val="A4A3A4"/>
          </p15:clr>
        </p15:guide>
        <p15:guide id="23" orient="horz" pos="2880" userDrawn="1">
          <p15:clr>
            <a:srgbClr val="A4A3A4"/>
          </p15:clr>
        </p15:guide>
        <p15:guide id="24" orient="horz" pos="3310" userDrawn="1">
          <p15:clr>
            <a:srgbClr val="A4A3A4"/>
          </p15:clr>
        </p15:guide>
        <p15:guide id="25" orient="horz" pos="3409" userDrawn="1">
          <p15:clr>
            <a:srgbClr val="A4A3A4"/>
          </p15:clr>
        </p15:guide>
        <p15:guide id="26" orient="horz" pos="3840" userDrawn="1">
          <p15:clr>
            <a:srgbClr val="A4A3A4"/>
          </p15:clr>
        </p15:guide>
        <p15:guide id="27" orient="horz" pos="3935" userDrawn="1">
          <p15:clr>
            <a:srgbClr val="A4A3A4"/>
          </p15:clr>
        </p15:guide>
        <p15:guide id="28" orient="horz" pos="4368" userDrawn="1">
          <p15:clr>
            <a:srgbClr val="A4A3A4"/>
          </p15:clr>
        </p15:guide>
        <p15:guide id="29" orient="horz" pos="4508" userDrawn="1">
          <p15:clr>
            <a:srgbClr val="5ACBF0"/>
          </p15:clr>
        </p15:guide>
        <p15:guide id="30" orient="horz" pos="4701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386A67B4-C52C-487E-AC4C-FBF90CE3B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960" y="413809"/>
            <a:ext cx="11917680" cy="15023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911BA55-4B3D-430E-A165-0FCCE33095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9960" y="2069042"/>
            <a:ext cx="11917680" cy="4931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E649C57-62FB-4DDE-ACA8-1BD1521EBF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9960" y="7203864"/>
            <a:ext cx="310896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FE16901-52BB-42F5-B94A-FCED456F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7080" y="7203864"/>
            <a:ext cx="466344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35FD0CE-46E0-4B98-BC28-86D715B8C9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8680" y="7203864"/>
            <a:ext cx="310896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756CB0-CB89-4DD8-A4C1-357BA2DC24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0297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</p:sldLayoutIdLst>
  <p:hf sldNum="0" hdr="0" ftr="0" dt="0"/>
  <p:txStyles>
    <p:titleStyle>
      <a:lvl1pPr algn="l" defTabSz="1036290" rtl="0" eaLnBrk="1" latinLnBrk="0" hangingPunct="1">
        <a:lnSpc>
          <a:spcPct val="90000"/>
        </a:lnSpc>
        <a:spcBef>
          <a:spcPct val="0"/>
        </a:spcBef>
        <a:buNone/>
        <a:defRPr sz="498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9072" indent="-259072" algn="l" defTabSz="1036290" rtl="0" eaLnBrk="1" latinLnBrk="0" hangingPunct="1">
        <a:lnSpc>
          <a:spcPct val="90000"/>
        </a:lnSpc>
        <a:spcBef>
          <a:spcPts val="1133"/>
        </a:spcBef>
        <a:buFont typeface="Arial" panose="020B0604020202020204" pitchFamily="34" charset="0"/>
        <a:buChar char="•"/>
        <a:defRPr sz="3173" kern="1200">
          <a:solidFill>
            <a:schemeClr val="tx1"/>
          </a:solidFill>
          <a:latin typeface="+mn-lt"/>
          <a:ea typeface="+mn-ea"/>
          <a:cs typeface="+mn-cs"/>
        </a:defRPr>
      </a:lvl1pPr>
      <a:lvl2pPr marL="777217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720" kern="1200">
          <a:solidFill>
            <a:schemeClr val="tx1"/>
          </a:solidFill>
          <a:latin typeface="+mn-lt"/>
          <a:ea typeface="+mn-ea"/>
          <a:cs typeface="+mn-cs"/>
        </a:defRPr>
      </a:lvl2pPr>
      <a:lvl3pPr marL="1295362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3pPr>
      <a:lvl4pPr marL="1813507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4pPr>
      <a:lvl5pPr marL="2331651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5pPr>
      <a:lvl6pPr marL="2849796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367941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886086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404230" indent="-259072" algn="l" defTabSz="1036290" rtl="0" eaLnBrk="1" latinLnBrk="0" hangingPunct="1">
        <a:lnSpc>
          <a:spcPct val="90000"/>
        </a:lnSpc>
        <a:spcBef>
          <a:spcPts val="567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1pPr>
      <a:lvl2pPr marL="518145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290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554434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4pPr>
      <a:lvl5pPr marL="2072579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5pPr>
      <a:lvl6pPr marL="2590724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108869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627013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145158" algn="l" defTabSz="1036290" rtl="0" eaLnBrk="1" latinLnBrk="0" hangingPunct="1"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05.xml"/><Relationship Id="rId4" Type="http://schemas.openxmlformats.org/officeDocument/2006/relationships/tags" Target="../tags/tag20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3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4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6.xml"/><Relationship Id="rId1" Type="http://schemas.openxmlformats.org/officeDocument/2006/relationships/tags" Target="../tags/tag2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8.xml"/><Relationship Id="rId1" Type="http://schemas.openxmlformats.org/officeDocument/2006/relationships/tags" Target="../tags/tag24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2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 hidden="1">
            <a:extLst>
              <a:ext uri="{FF2B5EF4-FFF2-40B4-BE49-F238E27FC236}">
                <a16:creationId xmlns="" xmlns:a16="http://schemas.microsoft.com/office/drawing/2014/main" id="{F5EE7B07-6122-4499-9005-BF9474F8595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7960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0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15A091A3-DD91-4578-BF81-CEC66FB98DF6}"/>
              </a:ext>
            </a:extLst>
          </p:cNvPr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497305" y="2308660"/>
            <a:ext cx="8470231" cy="1394228"/>
          </a:xfrm>
        </p:spPr>
        <p:txBody>
          <a:bodyPr/>
          <a:lstStyle/>
          <a:p>
            <a:r>
              <a:rPr lang="en-GB" sz="4800" dirty="0"/>
              <a:t>Rajasthan Jan Aadhaar Yojana</a:t>
            </a:r>
          </a:p>
        </p:txBody>
      </p:sp>
      <p:sp>
        <p:nvSpPr>
          <p:cNvPr id="56" name="Draft Stamp" hidden="1">
            <a:extLst>
              <a:ext uri="{FF2B5EF4-FFF2-40B4-BE49-F238E27FC236}">
                <a16:creationId xmlns="" xmlns:a16="http://schemas.microsoft.com/office/drawing/2014/main" id="{4A61CCC9-31E1-402E-B505-2AB2E2D8DE7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2376938" y="4706780"/>
            <a:ext cx="2202688" cy="19802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sz="1000" dirty="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" name="Confidentiality Stamp">
            <a:extLst>
              <a:ext uri="{FF2B5EF4-FFF2-40B4-BE49-F238E27FC236}">
                <a16:creationId xmlns="" xmlns:a16="http://schemas.microsoft.com/office/drawing/2014/main" id="{BE7B8E66-6F30-4D2A-957B-2E950F9FC53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83212" y="4917022"/>
            <a:ext cx="7073495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000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Strictly private and confidential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="" xmlns:a16="http://schemas.microsoft.com/office/drawing/2014/main" id="{B6475D1B-FF0A-42FB-9D39-416F3E2F20B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496" y="4673307"/>
            <a:ext cx="2914650" cy="27622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37518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59" y="278224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Steps to Consume Jan </a:t>
            </a:r>
            <a:r>
              <a:rPr lang="en-GB" sz="3200" b="1" dirty="0" err="1" smtClean="0"/>
              <a:t>Aadhaar</a:t>
            </a:r>
            <a:r>
              <a:rPr lang="en-GB" sz="3200" b="1" dirty="0" smtClean="0"/>
              <a:t> APIs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3" name="Rectangle 2"/>
          <p:cNvSpPr/>
          <p:nvPr/>
        </p:nvSpPr>
        <p:spPr>
          <a:xfrm>
            <a:off x="699958" y="1109844"/>
            <a:ext cx="12679157" cy="62309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IN" sz="22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ep 1: Sign the </a:t>
            </a: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quest</a:t>
            </a:r>
            <a:endParaRPr lang="en-IN" sz="2200" dirty="0" smtClean="0">
              <a:latin typeface="+mj-lt"/>
              <a:ea typeface="Arial" panose="020B0604020202020204" pitchFamily="34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○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reate a JSON object and digitally sign it using your private RSA key</a:t>
            </a: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○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ppend the signature in the </a:t>
            </a:r>
            <a:r>
              <a:rPr lang="en-IN" sz="2200" dirty="0" smtClean="0">
                <a:solidFill>
                  <a:srgbClr val="188038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"signature"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field</a:t>
            </a:r>
            <a:b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IN" sz="2200" dirty="0" smtClean="0">
              <a:latin typeface="+mj-lt"/>
              <a:ea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ep </a:t>
            </a:r>
            <a:r>
              <a:rPr lang="en-IN" sz="22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2: Encrypt the </a:t>
            </a: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ayload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○"/>
            </a:pP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crypt the entire JSON including the signature using AES (symmetric key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○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crypt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AES key using the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’s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RSA public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key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  <a:p>
            <a:pPr marL="742950" lvl="1" indent="-285750">
              <a:lnSpc>
                <a:spcPct val="115000"/>
              </a:lnSpc>
              <a:spcAft>
                <a:spcPts val="1200"/>
              </a:spcAft>
              <a:buFont typeface="Arial" panose="020B0604020202020204" pitchFamily="34" charset="0"/>
              <a:buChar char="○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end Encrypted Request to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endParaRPr lang="en-IN" sz="2200" dirty="0" smtClean="0">
              <a:latin typeface="+mj-lt"/>
              <a:ea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●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ep 3: Wrap the Payload</a:t>
            </a:r>
            <a:endParaRPr lang="en-IN" sz="2200" dirty="0">
              <a:latin typeface="+mj-lt"/>
              <a:ea typeface="Times New Roman" panose="02020603050405020304" pitchFamily="18" charset="0"/>
            </a:endParaRPr>
          </a:p>
          <a:p>
            <a:pPr lvl="1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rap AES Encrypted JSON string with RSA Encrypted AES Key in Base 64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●"/>
            </a:pPr>
            <a:r>
              <a:rPr lang="en-IN" sz="22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ep 4: Response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  <a:p>
            <a:pPr marL="457200" lvl="1" algn="just">
              <a:lnSpc>
                <a:spcPct val="115000"/>
              </a:lnSpc>
              <a:spcAft>
                <a:spcPts val="0"/>
              </a:spcAft>
            </a:pPr>
            <a:r>
              <a:rPr lang="en-IN" sz="2200" dirty="0">
                <a:highlight>
                  <a:srgbClr val="FFFFFF"/>
                </a:highlight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e department will receive an encrypted and signed </a:t>
            </a:r>
            <a:r>
              <a:rPr lang="en-IN" sz="2200" dirty="0" smtClean="0">
                <a:highlight>
                  <a:srgbClr val="FFFFFF"/>
                </a:highlight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sponse</a:t>
            </a:r>
            <a:r>
              <a:rPr lang="en-IN" sz="2200" dirty="0">
                <a:highlight>
                  <a:srgbClr val="FFFFFF"/>
                </a:highlight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200" dirty="0" smtClean="0">
                <a:highlight>
                  <a:srgbClr val="FFFFFF"/>
                </a:highlight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n same format mentioned in Step 1 to Step 3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62943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Fetch Data from Jan </a:t>
            </a:r>
            <a:r>
              <a:rPr lang="en-GB" dirty="0" err="1" smtClean="0">
                <a:latin typeface="+mj-lt"/>
              </a:rPr>
              <a:t>Aadhaar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900" noProof="1">
                <a:solidFill>
                  <a:schemeClr val="bg1"/>
                </a:solidFill>
              </a:rPr>
              <a:t>-1 Jan Aadhaar Enrolment Process</a:t>
            </a:r>
            <a:endParaRPr lang="en-GB" sz="900" noProof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52938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9959" y="534896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Fetch Data from Jan </a:t>
            </a:r>
            <a:r>
              <a:rPr lang="en-GB" sz="3200" b="1" dirty="0" err="1" smtClean="0"/>
              <a:t>Aadhaar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699959" y="1382558"/>
            <a:ext cx="12679157" cy="5461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irst API Call: Fetch Member List</a:t>
            </a:r>
            <a:endParaRPr lang="en-IN" sz="2200" dirty="0" smtClean="0">
              <a:latin typeface="+mj-lt"/>
              <a:ea typeface="Arial" panose="020B0604020202020204" pitchFamily="34" charset="0"/>
            </a:endParaRPr>
          </a:p>
          <a:p>
            <a:pPr marL="457200" lvl="1">
              <a:lnSpc>
                <a:spcPct val="115000"/>
              </a:lnSpc>
              <a:spcAft>
                <a:spcPts val="0"/>
              </a:spcAft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quest Parameters – App Code, Scheme Code, Transaction Id,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/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rollment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</a:p>
          <a:p>
            <a:pPr marL="457200" lvl="1">
              <a:lnSpc>
                <a:spcPct val="115000"/>
              </a:lnSpc>
              <a:spcAft>
                <a:spcPts val="0"/>
              </a:spcAft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sponse Parameters –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pp Code, Scheme Code, Transaction Id,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asked English Name,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Member Id</a:t>
            </a:r>
            <a:b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IN" sz="2200" dirty="0" smtClean="0">
              <a:latin typeface="+mj-lt"/>
              <a:ea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econd API Call: Generate OTP</a:t>
            </a:r>
            <a:endParaRPr lang="en-IN" sz="2200" dirty="0">
              <a:latin typeface="+mj-lt"/>
              <a:ea typeface="Arial" panose="020B0604020202020204" pitchFamily="34" charset="0"/>
            </a:endParaRPr>
          </a:p>
          <a:p>
            <a:pPr marL="457200" lvl="1">
              <a:lnSpc>
                <a:spcPct val="115000"/>
              </a:lnSpc>
              <a:spcAft>
                <a:spcPts val="0"/>
              </a:spcAft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quest Parameters – App Code, Scheme Code, Transaction Id, Member Id</a:t>
            </a:r>
          </a:p>
          <a:p>
            <a:pPr marL="457200" lvl="1">
              <a:lnSpc>
                <a:spcPct val="115000"/>
              </a:lnSpc>
              <a:spcAft>
                <a:spcPts val="0"/>
              </a:spcAft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sponse Parameters -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pp Code, Scheme Code, Transaction Id, TID, Status, Response Code, Message</a:t>
            </a: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●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hird API Call: Validate OTP and Fetch Requested Data</a:t>
            </a:r>
          </a:p>
          <a:p>
            <a:pPr marL="457200" lvl="1">
              <a:lnSpc>
                <a:spcPct val="115000"/>
              </a:lnSpc>
            </a:pP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quest Parameters – App Code, Scheme Code, Transaction Id,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ID, OTP</a:t>
            </a:r>
            <a:endParaRPr lang="en-IN" sz="22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1">
              <a:lnSpc>
                <a:spcPct val="115000"/>
              </a:lnSpc>
            </a:pP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sponse Parameters - App Code, Scheme Code, Transaction Id, TID, Status, Response Code,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essage, Parameters decided to be shared from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(if OTP validated successfully)</a:t>
            </a:r>
            <a:endParaRPr lang="en-IN" sz="22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400378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PI </a:t>
            </a:r>
            <a:r>
              <a:rPr lang="en-GB" dirty="0" err="1" smtClean="0">
                <a:latin typeface="+mj-lt"/>
              </a:rPr>
              <a:t>Auth</a:t>
            </a:r>
            <a:r>
              <a:rPr lang="en-GB" dirty="0" smtClean="0">
                <a:latin typeface="+mj-lt"/>
              </a:rPr>
              <a:t> through Jan </a:t>
            </a:r>
            <a:r>
              <a:rPr lang="en-GB" dirty="0" err="1" smtClean="0">
                <a:latin typeface="+mj-lt"/>
              </a:rPr>
              <a:t>Aadhaar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900" noProof="1">
                <a:solidFill>
                  <a:schemeClr val="bg1"/>
                </a:solidFill>
              </a:rPr>
              <a:t>-1 Jan Aadhaar Enrolment Process</a:t>
            </a:r>
            <a:endParaRPr lang="en-GB" sz="900" noProof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92067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55" y="149888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Personal Identity (PI) </a:t>
            </a:r>
            <a:r>
              <a:rPr lang="en-GB" sz="3200" b="1" dirty="0" err="1" smtClean="0"/>
              <a:t>Auth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5" name="Rectangle 4"/>
          <p:cNvSpPr/>
          <p:nvPr/>
        </p:nvSpPr>
        <p:spPr>
          <a:xfrm>
            <a:off x="449179" y="784699"/>
            <a:ext cx="12929937" cy="69088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US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This API will be used to validate personal details stored in the Department Database through Jan </a:t>
            </a:r>
            <a:r>
              <a:rPr lang="en-US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endParaRPr lang="en-US" sz="24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4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Jan 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/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nrollment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/Jan Member Id any one id must be passed to validate details in Jan 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sident Data Repository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4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part from the Id mentioned in Point No. 2, user can push any of the parameters mentioned below to validate information in Jan 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endParaRPr lang="en-IN" sz="24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 err="1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ference Id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ame English (Exact Match)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ender (M/F/T)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te of Birth (DD/MM/YYYY)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nk Account No.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IN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FSC Code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bile No.</a:t>
            </a:r>
            <a:endParaRPr lang="en-IN" sz="18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ather Name English (Exact Match)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ther Name English (Exact Match)</a:t>
            </a:r>
          </a:p>
          <a:p>
            <a:pPr marL="852312" lvl="1" indent="-34290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pouse Name English (Exact Match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18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US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sponse True/False will be provided</a:t>
            </a:r>
            <a:endParaRPr lang="en-IN" sz="24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47060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Reverse Seeding in Jan </a:t>
            </a:r>
            <a:r>
              <a:rPr lang="en-GB" dirty="0" err="1" smtClean="0">
                <a:latin typeface="+mj-lt"/>
              </a:rPr>
              <a:t>Aadhaar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900" noProof="1">
                <a:solidFill>
                  <a:schemeClr val="bg1"/>
                </a:solidFill>
              </a:rPr>
              <a:t>-1 Jan Aadhaar Enrolment Process</a:t>
            </a:r>
            <a:endParaRPr lang="en-GB" sz="900" noProof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03954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55" y="149888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Entitlement Seeding API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487932" y="919333"/>
            <a:ext cx="13163900" cy="671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s need to seed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/Jan Member Id in their databases. 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endParaRPr lang="en-IN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ubsequently, departments need to push mapping of Department Entitlement Id and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/Member Id in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API.</a:t>
            </a: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endParaRPr lang="en-IN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elow parameters need to be pushed in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oc/Scheme Type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titlement/Certificate Id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US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US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Member Id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ertificate Issue Date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ertificate Expiry Date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ertificate Value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eneficiary Name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ertificate </a:t>
            </a:r>
            <a:r>
              <a:rPr lang="en-US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Vault</a:t>
            </a: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Doc Id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tatus</a:t>
            </a:r>
          </a:p>
          <a:p>
            <a:pPr marL="852312" lvl="1" indent="-342900" algn="just">
              <a:lnSpc>
                <a:spcPct val="115000"/>
              </a:lnSpc>
              <a:buSzPts val="1100"/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ssued By</a:t>
            </a:r>
            <a:endParaRPr lang="en-IN" sz="18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endParaRPr lang="en-US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0"/>
              </a:spcAft>
              <a:buSzPts val="1100"/>
              <a:buFont typeface="Wingdings" panose="05000000000000000000" pitchFamily="2" charset="2"/>
              <a:buChar char="q"/>
            </a:pP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xample</a:t>
            </a:r>
            <a:r>
              <a:rPr lang="en-US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– Caste/</a:t>
            </a:r>
            <a:r>
              <a:rPr lang="en-US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onafied</a:t>
            </a: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Certificate Seeding in Jan </a:t>
            </a:r>
            <a:r>
              <a:rPr lang="en-US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US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n real time basis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53938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55" y="149888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Cash DBT Transactions PUSH API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487932" y="919333"/>
            <a:ext cx="13163900" cy="6064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ash DBT Transactions </a:t>
            </a:r>
            <a:endParaRPr lang="en-IN" sz="2400" u="sng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s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st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ush successful Cash DBT Transactions in Jan </a:t>
            </a:r>
            <a:r>
              <a:rPr lang="en-IN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These transactions data will be used for the family level DBT consolidation.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US" sz="22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elow are the parameters which need to be pushed to Jan </a:t>
            </a:r>
            <a:r>
              <a:rPr lang="en-US" sz="22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US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ansaction Id - Unique 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ansaction 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cheme Code – To be provided by Jan 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during Scheme 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nboarding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/Integration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titlement Id – Department Beneficiary I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titlement Member Id in Case of Family Scheme, Department Member I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Member I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ansaction Mode - AD (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Based Payment)/AC (Bank Account Based Payment)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/Ref Id – In case of 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based payment, this is mandatory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ank Account No. – In case of Bank Account based payment, this is mandatory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FSC 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 In case of Bank Account based payment, this is mandatory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ICR – Non mandatory field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ayment Amount – DBT Transaction amount in Rupees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ayment Date – Transaction Date (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d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/mm/</a:t>
            </a: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yyyy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361303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455" y="37594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Non Cash DBT Transactions PUSH API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Enrolment Proc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487932" y="614535"/>
            <a:ext cx="13163900" cy="64648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n Cash DBT Transactions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s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st push successful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n Cash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BT Transactions in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 These will be used for the family level DBT consolidation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US" sz="22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buSzPts val="1100"/>
            </a:pPr>
            <a:r>
              <a:rPr lang="en-US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elow are the parameters which need to be pushed to Jan </a:t>
            </a:r>
            <a:r>
              <a:rPr lang="en-US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US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IN" sz="22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US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ransaction Id - Unique Transaction Id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cheme Code – To be provided by Jan </a:t>
            </a:r>
            <a:r>
              <a:rPr lang="en-IN" sz="18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during Scheme </a:t>
            </a:r>
            <a:r>
              <a:rPr lang="en-IN" sz="18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nboarding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/Integration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titlement Id – Department Beneficiary Id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titlement Member Id in Case of Family Scheme, Department Member Id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IN" sz="18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IN" sz="18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Member 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d</a:t>
            </a: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tems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361724" lvl="2" indent="-342900">
              <a:buFont typeface="Courier New" panose="02070309020205020404" pitchFamily="49" charset="0"/>
              <a:buChar char="o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Quantity (Ex. 10)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361724" lvl="2" indent="-342900">
              <a:buFont typeface="Courier New" panose="02070309020205020404" pitchFamily="49" charset="0"/>
              <a:buChar char="o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ommodity (Ex. Rice)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361724" lvl="2" indent="-342900">
              <a:buFont typeface="Courier New" panose="02070309020205020404" pitchFamily="49" charset="0"/>
              <a:buChar char="o"/>
            </a:pP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Unit (Ex. Kg.)</a:t>
            </a:r>
            <a:endParaRPr lang="en-IN" sz="1800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852312" lvl="1" indent="-342900">
              <a:buFont typeface="Wingdings" panose="05000000000000000000" pitchFamily="2" charset="2"/>
              <a:buChar char="§"/>
            </a:pPr>
            <a:r>
              <a:rPr lang="en-IN" sz="1800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r</a:t>
            </a:r>
            <a:r>
              <a:rPr lang="en-IN" sz="18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/Ref No.</a:t>
            </a:r>
            <a:endParaRPr lang="en-US" sz="18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200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b="1" i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Note:</a:t>
            </a:r>
            <a:r>
              <a:rPr lang="en-US" sz="2000" i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Multiple Items can be pushed against one transaction in the API</a:t>
            </a:r>
          </a:p>
          <a:p>
            <a:r>
              <a:rPr lang="en-US" sz="2000" i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            For Composite Schemes, data can be pushed in Cash and Non Cash both APIs against different </a:t>
            </a:r>
            <a:r>
              <a:rPr lang="en-US" sz="2000" i="1" dirty="0" err="1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Txn</a:t>
            </a:r>
            <a:r>
              <a:rPr lang="en-US" sz="2000" i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d’s</a:t>
            </a:r>
            <a:endParaRPr lang="en-IN" sz="2000" i="1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650700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70FC2208-5D7C-4B98-ADEC-0774DF3457AC}"/>
              </a:ext>
            </a:extLst>
          </p:cNvPr>
          <p:cNvSpPr txBox="1"/>
          <p:nvPr/>
        </p:nvSpPr>
        <p:spPr>
          <a:xfrm>
            <a:off x="3572042" y="2636858"/>
            <a:ext cx="6673516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noProof="0" dirty="0">
                <a:solidFill>
                  <a:srgbClr val="C00000"/>
                </a:solidFill>
                <a:latin typeface="Georgia" pitchFamily="18" charset="0"/>
                <a:cs typeface="Arial" pitchFamily="34" charset="0"/>
              </a:rPr>
              <a:t>THANK YOU</a:t>
            </a:r>
          </a:p>
        </p:txBody>
      </p:sp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D792613E-308C-4100-BFAB-E459D8E960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9367" y="5713661"/>
            <a:ext cx="2398233" cy="19918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="" xmlns:p14="http://schemas.microsoft.com/office/powerpoint/2010/main" val="3992475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071690"/>
            <a:ext cx="11710737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Jan </a:t>
            </a:r>
            <a:r>
              <a:rPr lang="en-GB" dirty="0" err="1" smtClean="0">
                <a:latin typeface="+mj-lt"/>
              </a:rPr>
              <a:t>Aadhaar</a:t>
            </a:r>
            <a:r>
              <a:rPr lang="en-GB" dirty="0" smtClean="0">
                <a:latin typeface="+mj-lt"/>
              </a:rPr>
              <a:t> Data Repository for Service Delivery</a:t>
            </a:r>
            <a:endParaRPr lang="en-GB" dirty="0">
              <a:latin typeface="+mj-lt"/>
            </a:endParaRP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>
                <a:solidFill>
                  <a:schemeClr val="bg1"/>
                </a:solidFill>
              </a:rPr>
              <a:t>-1 About Rajasthan Jan Aadhaar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39918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332" y="58058"/>
            <a:ext cx="12280739" cy="1006814"/>
          </a:xfrm>
        </p:spPr>
        <p:txBody>
          <a:bodyPr>
            <a:normAutofit/>
          </a:bodyPr>
          <a:lstStyle/>
          <a:p>
            <a:r>
              <a:rPr lang="en-GB" sz="3200" b="1" dirty="0" smtClean="0"/>
              <a:t>Jan </a:t>
            </a:r>
            <a:r>
              <a:rPr lang="en-GB" sz="3200" b="1" dirty="0" err="1"/>
              <a:t>Aadhaar</a:t>
            </a:r>
            <a:r>
              <a:rPr lang="en-GB" sz="3200" b="1" dirty="0"/>
              <a:t> Data Repository for Service </a:t>
            </a:r>
            <a:r>
              <a:rPr lang="en-GB" sz="3200" b="1" dirty="0" smtClean="0"/>
              <a:t>Delivery</a:t>
            </a:r>
            <a:endParaRPr lang="en-IN" sz="3000" b="1" dirty="0">
              <a:latin typeface="Georgia" panose="02040502050405020303" pitchFamily="18" charset="0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9179" y="1153665"/>
            <a:ext cx="12929937" cy="5202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US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Jan </a:t>
            </a:r>
            <a:r>
              <a:rPr lang="en-US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sident Data Repository is Family database having all socio economic parameters of families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4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ll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blic welfare benefits and services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all be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otified under section 4 and section 14,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d after authentication, beneficiaries data can be fetched from Jan-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sident Data Repository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4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epartments need to seed Jan 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 in their databases and reverse seed those details in Jan </a:t>
            </a:r>
            <a:r>
              <a:rPr lang="en-IN" sz="24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through API.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4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arenR"/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epartments should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ot create any further database at its own level and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se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dentity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formation/photograph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f a family or any of its members available in Jan-</a:t>
            </a:r>
            <a:r>
              <a:rPr lang="en-IN" sz="2400" dirty="0" err="1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sident Data Repository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o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ransfer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blic </a:t>
            </a:r>
            <a:r>
              <a:rPr lang="en-IN" sz="24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elfare benefits and delivery of </a:t>
            </a: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rvices</a:t>
            </a:r>
            <a:endParaRPr lang="en-IN" sz="24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81381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Legal Provisions for Data Sharing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900" noProof="1">
                <a:solidFill>
                  <a:schemeClr val="bg1"/>
                </a:solidFill>
              </a:rPr>
              <a:t>-1 Jan Aadhaar Architecture</a:t>
            </a: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81048173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16" y="219670"/>
            <a:ext cx="12360471" cy="841248"/>
          </a:xfrm>
        </p:spPr>
        <p:txBody>
          <a:bodyPr/>
          <a:lstStyle/>
          <a:p>
            <a:r>
              <a:rPr lang="en-GB" b="1" dirty="0" smtClean="0"/>
              <a:t>Legal Provisions for Data Sharing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Architecture</a:t>
            </a:r>
          </a:p>
        </p:txBody>
      </p:sp>
      <p:sp>
        <p:nvSpPr>
          <p:cNvPr id="5" name="Rectangle 4"/>
          <p:cNvSpPr/>
          <p:nvPr/>
        </p:nvSpPr>
        <p:spPr>
          <a:xfrm>
            <a:off x="449179" y="848867"/>
            <a:ext cx="12929937" cy="68470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US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morandum of Understanding with Jan </a:t>
            </a:r>
            <a:r>
              <a:rPr lang="en-US" sz="2400" u="sng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uthority</a:t>
            </a:r>
          </a:p>
          <a:p>
            <a:pPr lvl="1" algn="just">
              <a:lnSpc>
                <a:spcPct val="107000"/>
              </a:lnSpc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questing Entity shall enter into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U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with JAA to integrate and fetch data from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Resident Data Repository.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oU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hall have the purpose/intent to fetch data from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nd also define the responsibilities of Requesting Entity for data security.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-FA (Electronic Family Authentication) authentication facility </a:t>
            </a:r>
            <a:endParaRPr lang="en-IN" sz="2400" u="sng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7000"/>
              </a:lnSpc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o fetch family details, authentication and consent of Head of the Family need to be captured</a:t>
            </a:r>
            <a:endParaRPr lang="en-IN" sz="22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-MA (Electronic Member Authentication) authentication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acility</a:t>
            </a:r>
          </a:p>
          <a:p>
            <a:pPr lvl="1" algn="just">
              <a:lnSpc>
                <a:spcPct val="107000"/>
              </a:lnSpc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fter capturing the authentication and consent of particular member of the family, details limited to that member can be fetched</a:t>
            </a:r>
            <a:endParaRPr lang="en-IN" sz="22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arenR"/>
            </a:pP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intain Consent Log of </a:t>
            </a:r>
            <a:r>
              <a:rPr lang="en-IN" sz="2400" u="sng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Jan-</a:t>
            </a:r>
            <a:r>
              <a:rPr lang="en-IN" sz="2400" u="sng" dirty="0" err="1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u="sng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older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nsent of the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d holder should be captured and log of such consents shall be maintained by the Requesting Entity and when required, same shall be made available to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uthority </a:t>
            </a:r>
            <a:endParaRPr lang="en-IN" sz="22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7314025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416" y="219670"/>
            <a:ext cx="12360471" cy="841248"/>
          </a:xfrm>
        </p:spPr>
        <p:txBody>
          <a:bodyPr/>
          <a:lstStyle/>
          <a:p>
            <a:r>
              <a:rPr lang="en-GB" b="1" dirty="0" smtClean="0"/>
              <a:t>Legal Provisions for Data Sharing</a:t>
            </a:r>
            <a:endParaRPr lang="en-GB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800" noProof="1"/>
              <a:t>-1 Jan Aadhaar Architecture</a:t>
            </a:r>
          </a:p>
        </p:txBody>
      </p:sp>
      <p:sp>
        <p:nvSpPr>
          <p:cNvPr id="5" name="Rectangle 4"/>
          <p:cNvSpPr/>
          <p:nvPr/>
        </p:nvSpPr>
        <p:spPr>
          <a:xfrm>
            <a:off x="449179" y="929077"/>
            <a:ext cx="12929937" cy="6320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en-US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)</a:t>
            </a:r>
            <a:r>
              <a:rPr lang="en-US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on Disclosure of Personal/Sensitive Data</a:t>
            </a:r>
          </a:p>
          <a:p>
            <a:pPr lvl="1" algn="just">
              <a:lnSpc>
                <a:spcPct val="107000"/>
              </a:lnSpc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questing Entity shall not disclose/share Personal/Sensitive information fetched from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further with any application/API/Portal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)</a:t>
            </a: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ta Masking </a:t>
            </a:r>
          </a:p>
          <a:p>
            <a:pPr lvl="1" algn="just">
              <a:lnSpc>
                <a:spcPct val="107000"/>
              </a:lnSpc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questing Entity shall display/print/publish any sensitive information like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/Bank Account/Mobile Number fetched from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 masked format</a:t>
            </a:r>
            <a:endParaRPr lang="en-IN" sz="22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7)</a:t>
            </a: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curity Audit/VAPT</a:t>
            </a:r>
          </a:p>
          <a:p>
            <a:pPr lvl="1" algn="just">
              <a:lnSpc>
                <a:spcPct val="107000"/>
              </a:lnSpc>
            </a:pPr>
            <a:r>
              <a:rPr lang="en-US" sz="22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pplications/portals using Jan </a:t>
            </a:r>
            <a:r>
              <a:rPr lang="en-US" sz="2200" dirty="0" err="1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PI’s 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all conduct Security Audit/VAPT periodically and report shall be submitted to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uthority</a:t>
            </a:r>
            <a:endParaRPr lang="en-IN" sz="22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arenR"/>
            </a:pPr>
            <a:endParaRPr lang="en-IN" sz="2800" dirty="0" smtClean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en-IN" sz="24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8)</a:t>
            </a:r>
            <a:r>
              <a:rPr lang="en-IN" sz="28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udit by Jan </a:t>
            </a:r>
            <a:r>
              <a:rPr lang="en-IN" sz="2400" u="sng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IN" sz="2400" u="sng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uthority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ccess shall be provided to Jan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adhaar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uthroity</a:t>
            </a:r>
            <a:r>
              <a:rPr lang="en-US" sz="2200" dirty="0" smtClean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JAA) or any agency appointed by JAA to conduct audit of Application/Portal/Source Code/Database to ensure data security</a:t>
            </a:r>
            <a:endParaRPr lang="en-IN" sz="22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161791763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Prerequisites for Jan </a:t>
            </a:r>
            <a:r>
              <a:rPr lang="en-GB" dirty="0" err="1" smtClean="0">
                <a:latin typeface="+mj-lt"/>
              </a:rPr>
              <a:t>Aadhaar</a:t>
            </a:r>
            <a:r>
              <a:rPr lang="en-GB" dirty="0" smtClean="0">
                <a:latin typeface="+mj-lt"/>
              </a:rPr>
              <a:t> Integration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900" noProof="1">
                <a:solidFill>
                  <a:schemeClr val="bg1"/>
                </a:solidFill>
              </a:rPr>
              <a:t>-1 Jan Aadhaar Enrolment Process</a:t>
            </a:r>
            <a:endParaRPr lang="en-GB" sz="900" noProof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6523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186" y="270590"/>
            <a:ext cx="12360471" cy="841248"/>
          </a:xfrm>
        </p:spPr>
        <p:txBody>
          <a:bodyPr/>
          <a:lstStyle/>
          <a:p>
            <a:r>
              <a:rPr lang="en-GB" sz="3200" b="1" dirty="0" smtClean="0"/>
              <a:t>Prerequisites </a:t>
            </a:r>
            <a:r>
              <a:rPr lang="en-GB" sz="3200" b="1" dirty="0"/>
              <a:t>for Jan </a:t>
            </a:r>
            <a:r>
              <a:rPr lang="en-GB" sz="3200" b="1" dirty="0" err="1"/>
              <a:t>Aadhaar</a:t>
            </a:r>
            <a:r>
              <a:rPr lang="en-GB" sz="3200" b="1" dirty="0"/>
              <a:t> </a:t>
            </a:r>
            <a:r>
              <a:rPr lang="en-GB" sz="3200" b="1" dirty="0" smtClean="0"/>
              <a:t>Integration</a:t>
            </a:r>
            <a:endParaRPr lang="en-GB" sz="3200" b="1" dirty="0"/>
          </a:p>
        </p:txBody>
      </p:sp>
      <p:sp>
        <p:nvSpPr>
          <p:cNvPr id="4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800" noProof="1"/>
              <a:t>-1 Jan Aadhaar Enrolment Process</a:t>
            </a:r>
            <a:endParaRPr lang="en-GB" sz="800" noProof="1"/>
          </a:p>
        </p:txBody>
      </p:sp>
      <p:sp>
        <p:nvSpPr>
          <p:cNvPr id="3" name="Rectangle 2"/>
          <p:cNvSpPr/>
          <p:nvPr/>
        </p:nvSpPr>
        <p:spPr>
          <a:xfrm>
            <a:off x="487932" y="919333"/>
            <a:ext cx="13163900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dentify Parameters</a:t>
            </a:r>
            <a:endParaRPr lang="en-IN" sz="2400" u="sng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s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st identify the parameters required for fetching data from the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system. </a:t>
            </a:r>
            <a:endParaRPr lang="en-IN" sz="2200" dirty="0" smtClean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IN" sz="2200" b="1" dirty="0" smtClean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cure Digital Signature</a:t>
            </a:r>
            <a:endParaRPr lang="en-IN" sz="2400" u="sng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15000"/>
              </a:lnSpc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s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ust procure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lass-III digital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ignature of the nodal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uthority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IN" sz="2200" b="1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hare Encryption Certificate</a:t>
            </a:r>
          </a:p>
          <a:p>
            <a:pPr lvl="1" algn="just">
              <a:lnSpc>
                <a:spcPct val="115000"/>
              </a:lnSpc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partment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hould have public and private encryption certificate. The department will share its public key with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for encryption purposes and will use private key for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ecryption.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IN" sz="2200" b="1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IP </a:t>
            </a:r>
            <a:r>
              <a:rPr lang="en-IN" sz="2400" u="sng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ddress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hitelisting</a:t>
            </a:r>
          </a:p>
          <a:p>
            <a:pPr lvl="1" algn="just">
              <a:lnSpc>
                <a:spcPct val="115000"/>
              </a:lnSpc>
              <a:buSzPts val="1100"/>
            </a:pPr>
            <a:r>
              <a:rPr lang="en-IN" sz="2200" dirty="0" smtClean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Provide </a:t>
            </a:r>
            <a:r>
              <a:rPr lang="en-IN" sz="2200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IP Addresses of the server to whitelist to access Jan </a:t>
            </a:r>
            <a:r>
              <a:rPr lang="en-IN" sz="2200" dirty="0" err="1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Aadhaar</a:t>
            </a:r>
            <a:r>
              <a:rPr lang="en-IN" sz="2200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N" sz="2200" dirty="0" smtClean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API’s.</a:t>
            </a: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endParaRPr lang="en-IN" sz="2200" b="1" dirty="0"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Aft>
                <a:spcPts val="0"/>
              </a:spcAft>
              <a:buSzPts val="1100"/>
            </a:pPr>
            <a:r>
              <a:rPr lang="en-IN" sz="2200" b="1" dirty="0" smtClean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5.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aise </a:t>
            </a:r>
            <a:r>
              <a:rPr lang="en-IN" sz="2400" u="sng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n boarding </a:t>
            </a:r>
            <a:r>
              <a:rPr lang="en-IN" sz="2400" u="sng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equest</a:t>
            </a:r>
          </a:p>
          <a:p>
            <a:pPr lvl="1" algn="just">
              <a:lnSpc>
                <a:spcPct val="115000"/>
              </a:lnSpc>
              <a:buSzPts val="1100"/>
            </a:pP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ill on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boarding request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orm through SSO Id. Request will be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pproved by the 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uthority.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ublic Key, App Code and Scheme Code </a:t>
            </a:r>
            <a:r>
              <a:rPr lang="en-IN" sz="2200" dirty="0" smtClean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ill be provided for 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Jan </a:t>
            </a:r>
            <a:r>
              <a:rPr lang="en-IN" sz="22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Aadhaar</a:t>
            </a:r>
            <a:r>
              <a:rPr lang="en-IN" sz="22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integration. </a:t>
            </a:r>
            <a:endParaRPr lang="en-IN" sz="2200" dirty="0">
              <a:latin typeface="+mj-lt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83120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1071690"/>
            <a:ext cx="11407649" cy="754062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Steps to Consume Jan </a:t>
            </a:r>
            <a:r>
              <a:rPr lang="en-GB" dirty="0" err="1" smtClean="0">
                <a:latin typeface="+mj-lt"/>
              </a:rPr>
              <a:t>Aadhaar</a:t>
            </a:r>
            <a:r>
              <a:rPr lang="en-GB" dirty="0" smtClean="0">
                <a:latin typeface="+mj-lt"/>
              </a:rPr>
              <a:t> API</a:t>
            </a:r>
            <a:endParaRPr lang="en-GB" dirty="0">
              <a:latin typeface="+mj-lt"/>
            </a:endParaRPr>
          </a:p>
        </p:txBody>
      </p:sp>
      <p:sp>
        <p:nvSpPr>
          <p:cNvPr id="3" name="Page Number">
            <a:extLst>
              <a:ext uri="{FF2B5EF4-FFF2-40B4-BE49-F238E27FC236}">
                <a16:creationId xmlns="" xmlns:a16="http://schemas.microsoft.com/office/drawing/2014/main" id="{C4D7E2D8-F172-4218-B9CB-ED6BBD7177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1087608" y="7313865"/>
            <a:ext cx="320040" cy="140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r>
              <a:rPr lang="en-GB" sz="800" noProof="1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" name="Section Header" hidden="1">
            <a:extLst>
              <a:ext uri="{FF2B5EF4-FFF2-40B4-BE49-F238E27FC236}">
                <a16:creationId xmlns="" xmlns:a16="http://schemas.microsoft.com/office/drawing/2014/main" id="{B864BC2B-A74D-467D-99EB-1EE062BBD3C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409952" y="704088"/>
            <a:ext cx="3034379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l-NL" sz="900" noProof="1">
                <a:solidFill>
                  <a:schemeClr val="bg1"/>
                </a:solidFill>
              </a:rPr>
              <a:t>-1 Jan Aadhaar Enrolment Process</a:t>
            </a:r>
            <a:endParaRPr lang="en-GB" sz="900" noProof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="" xmlns:p14="http://schemas.microsoft.com/office/powerpoint/2010/main" val="2834082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ABLE EXECUTIVE SUMMARY" val="Yes"/>
  <p:tag name="FOOTERHEIGHT" val="550"/>
  <p:tag name="FORECASTBOXCOLOR" val="252,212,182"/>
  <p:tag name="FORECASTBOXTRANSPARENCY" val="0"/>
  <p:tag name="HIGHLIGHTBOXCOLOR" val="232,230,223"/>
  <p:tag name="HIGHLIGHTBOXTRANSPARENCY" val="0"/>
  <p:tag name="HORIZONTALTOCTYPE" val="Header TOC"/>
  <p:tag name="INCLUDEINHORIZONTALTOC" val="Yes"/>
  <p:tag name="PAGINATIONSTART" val="Slide 1"/>
  <p:tag name="SHOWDISCLAIMERCLIENTNAME" val="No"/>
  <p:tag name="SHOWPRESENTATIONDISCLAIMER" val="Yes"/>
  <p:tag name="SMARTISVISIBLE" val="{@PresentationDisclaimer}!=No Disclaimer"/>
  <p:tag name="SMARTSHAPETYPE" val="PresentationDisclaimer"/>
  <p:tag name="SMRTDOCUMENTTYPE" val="2"/>
  <p:tag name="TABLEDEFAULTFONTSIZE" val="10"/>
  <p:tag name="TABLEHEADERFONTSIZE" val="12"/>
  <p:tag name="TABLESTYLEID" val="{74ED0A72-4B8E-423B-AE2F-120ADE3C16FB}"/>
  <p:tag name="TOCAPPENDIXTEXT" val="Appendices"/>
  <p:tag name="TOCOVERVIEWTEXT" val="Overview"/>
  <p:tag name="TOCPAGETEXT" val="Page"/>
  <p:tag name="TOCSECTIONHEADERTEXT" val="Section"/>
  <p:tag name="TOCSECTIONTEXT" val=" "/>
  <p:tag name="PICTURE" val="Occupied office space"/>
  <p:tag name="BUSINESSUNITCOVERTEXT" val="Transaction Services"/>
  <p:tag name="ISBRANDREFRESH" val="Yes"/>
  <p:tag name="HASFRONTIMAGE" val="NO"/>
  <p:tag name="HASNAVIGATIONBUTTON" val="No"/>
  <p:tag name="GRIDON" val="No"/>
  <p:tag name="SMARTTOCSLIDENUMBER" val="2"/>
  <p:tag name="THINKCELLUNDODONOTDELETE" val="0"/>
  <p:tag name="PRESENTATIONDISCLAIMER" val="Standard Disclaimer"/>
  <p:tag name="PRESENTATIONDISCLAIMERTEXT" val="Strictly private and confidential"/>
  <p:tag name="HEADINGBUTTONTEXTCOLOR" val="Accent1"/>
  <p:tag name="HIGHLIGHTBUTTONTEXTCOLOR" val="Accent1"/>
  <p:tag name="STYLECHANGED" val="No"/>
  <p:tag name="SMARTTOCSTYLE" val="Standard Widescreen"/>
  <p:tag name="SMARTTOCHYPERLINK" val="NO"/>
  <p:tag name="SHOW DRAFT STAMP" val="NO"/>
  <p:tag name="SHOW DATE FILEPATH" val="NO"/>
  <p:tag name="PRESENTATION THEME COLOR" val="PwC"/>
  <p:tag name="LANGUAGE" val="English (UK)"/>
  <p:tag name="DIVIDERTOCSTYLE" val="Nonbulleted"/>
  <p:tag name="TOCTEXT" val="Contents"/>
  <p:tag name="REPORT DATE" val="22 October 2021"/>
  <p:tag name="TITLE" val="Rajasthan Jan Aadhaar Yojana"/>
  <p:tag name="SUBTITLE" val="An Overview"/>
  <p:tag name="DRAFT STAMP" val="Draft"/>
  <p:tag name="CONFIDENTIALITY STAMP" val="Strictly private and confidential"/>
  <p:tag name="LASTSLIDEVIEWED" val="7690,6,Coverage of Jan Aadhaa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sULhbQrmG022Kn7g3w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gmy.ekS8KjgcIa2pNsE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Qo1aNuRoK6WSGX8yv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VH6BTrQYKCgZf0xXGqS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About Rajasthan Jan Aadhaar"/>
  <p:tag name="UNLOCK SHAPES" val="NO"/>
  <p:tag name="SMARTDIVIDERTEXT" val="Section"/>
  <p:tag name="SMARTDIVIDERNUMBER" val="-1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Architecture"/>
  <p:tag name="UNLOCK SHAPES" val="NO"/>
  <p:tag name="SMARTDIVIDERTEXT" val="Section"/>
  <p:tag name="SMARTDIVIDERNUMBER" val="-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Enrolment Process"/>
  <p:tag name="UNLOCK SHAPES" val="NO"/>
  <p:tag name="SMARTDIVIDERTEXT" val="Section"/>
  <p:tag name="SMARTDIVIDERNUMBER" val="-1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Enrolment Process"/>
  <p:tag name="UNLOCK SHAPES" val="NO"/>
  <p:tag name="SMARTDIVIDERTEXT" val="Section"/>
  <p:tag name="SMARTDIVIDERNUMBER" val="-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Enrolment Process"/>
  <p:tag name="UNLOCK SHAPES" val="NO"/>
  <p:tag name="SMARTDIVIDERTEXT" val="Section"/>
  <p:tag name="SMARTDIVIDERNUMBER" val="-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Enrolment Process"/>
  <p:tag name="UNLOCK SHAPES" val="NO"/>
  <p:tag name="SMARTDIVIDERTEXT" val="Section"/>
  <p:tag name="SMARTDIVIDERNUMBER" val="-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OCSTYLE" val="Section TOC"/>
  <p:tag name="SMARTSLIDETYPE" val="Divider"/>
  <p:tag name="INCLUDEINHORIZONTALTOC" val="YES"/>
  <p:tag name="SMARTDIVIDERLEVEL" val="-1"/>
  <p:tag name="INCLUDEINPRIMARYTOC" val="YES"/>
  <p:tag name="INCLUDEINSECTIONTOC" val="YES"/>
  <p:tag name="SMART DIVIDER TITLE" val="Jan Aadhaar Enrolment Process"/>
  <p:tag name="UNLOCK SHAPES" val="NO"/>
  <p:tag name="SMARTDIVIDERTEXT" val="Section"/>
  <p:tag name="SMARTDIVIDERNUMBER" val="-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1cQEtRUqRU0MivY3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hC0rZUTgWshj7l.hk_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ztUJJlTauHuJZlsazX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_axYciQ2yv8Qt220UN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H50fgWRsGXDJ9n6EJx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MzvAC.QweAJtafoLy5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 v.2"/>
  <p:tag name="SMARTWRITE" val="{@Titl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k10PVeQeaAAIa2ODmbr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heme/theme1.xml><?xml version="1.0" encoding="utf-8"?>
<a:theme xmlns:a="http://schemas.openxmlformats.org/drawingml/2006/main" name="PwC Smart">
  <a:themeElements>
    <a:clrScheme name="PwC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="" xmlns:thm15="http://schemas.microsoft.com/office/thememl/2012/main" name="Default - PwC report with top menu (Numbered).potx" id="{65B5C1D8-934F-45CE-A058-FD2D3D7B117D}" vid="{4072E8CC-8887-471B-9A07-9BAEFC1949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eneric Presentation</Template>
  <TotalTime>13020</TotalTime>
  <Words>1272</Words>
  <Application>Microsoft Office PowerPoint</Application>
  <PresentationFormat>Custom</PresentationFormat>
  <Paragraphs>182</Paragraphs>
  <Slides>19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PwC Smart</vt:lpstr>
      <vt:lpstr>Office Theme</vt:lpstr>
      <vt:lpstr>Rajasthan Jan Aadhaar Yojana</vt:lpstr>
      <vt:lpstr>Jan Aadhaar Data Repository for Service Delivery</vt:lpstr>
      <vt:lpstr>Jan Aadhaar Data Repository for Service Delivery</vt:lpstr>
      <vt:lpstr>Legal Provisions for Data Sharing</vt:lpstr>
      <vt:lpstr>Legal Provisions for Data Sharing</vt:lpstr>
      <vt:lpstr>Legal Provisions for Data Sharing</vt:lpstr>
      <vt:lpstr>Prerequisites for Jan Aadhaar Integration</vt:lpstr>
      <vt:lpstr>Prerequisites for Jan Aadhaar Integration</vt:lpstr>
      <vt:lpstr>Steps to Consume Jan Aadhaar API</vt:lpstr>
      <vt:lpstr>Steps to Consume Jan Aadhaar APIs</vt:lpstr>
      <vt:lpstr>Fetch Data from Jan Aadhaar</vt:lpstr>
      <vt:lpstr>Fetch Data from Jan Aadhaar</vt:lpstr>
      <vt:lpstr>PI Auth through Jan Aadhaar</vt:lpstr>
      <vt:lpstr>Personal Identity (PI) Auth</vt:lpstr>
      <vt:lpstr>Reverse Seeding in Jan Aadhaar</vt:lpstr>
      <vt:lpstr>Entitlement Seeding API</vt:lpstr>
      <vt:lpstr>Cash DBT Transactions PUSH API</vt:lpstr>
      <vt:lpstr>Non Cash DBT Transactions PUSH API</vt:lpstr>
      <vt:lpstr>Slide 19</vt:lpstr>
    </vt:vector>
  </TitlesOfParts>
  <Company>PricewaterhouseCoop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MU for IFMS 3.0</dc:title>
  <dc:subject/>
  <dc:creator>Shashvat Dixit (IN)</dc:creator>
  <dc:description>Presentation with top menu (Numbered)</dc:description>
  <cp:lastModifiedBy>ACER</cp:lastModifiedBy>
  <cp:revision>335</cp:revision>
  <cp:lastPrinted>2022-12-21T10:00:42Z</cp:lastPrinted>
  <dcterms:created xsi:type="dcterms:W3CDTF">2021-07-15T16:21:34Z</dcterms:created>
  <dcterms:modified xsi:type="dcterms:W3CDTF">2025-07-15T13:1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Report Template Version">
    <vt:lpwstr>TS Global ND 20140514</vt:lpwstr>
  </property>
  <property fmtid="{D5CDD505-2E9C-101B-9397-08002B2CF9AE}" pid="3" name="Go Live Date">
    <vt:lpwstr>05_13_2019</vt:lpwstr>
  </property>
</Properties>
</file>